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22"/>
  </p:notesMasterIdLst>
  <p:sldIdLst>
    <p:sldId id="256" r:id="rId2"/>
    <p:sldId id="274" r:id="rId3"/>
    <p:sldId id="275" r:id="rId4"/>
    <p:sldId id="270" r:id="rId5"/>
    <p:sldId id="282" r:id="rId6"/>
    <p:sldId id="281" r:id="rId7"/>
    <p:sldId id="280" r:id="rId8"/>
    <p:sldId id="276" r:id="rId9"/>
    <p:sldId id="289" r:id="rId10"/>
    <p:sldId id="284" r:id="rId11"/>
    <p:sldId id="285" r:id="rId12"/>
    <p:sldId id="293" r:id="rId13"/>
    <p:sldId id="286" r:id="rId14"/>
    <p:sldId id="287" r:id="rId15"/>
    <p:sldId id="277" r:id="rId16"/>
    <p:sldId id="291" r:id="rId17"/>
    <p:sldId id="278" r:id="rId18"/>
    <p:sldId id="292" r:id="rId19"/>
    <p:sldId id="294" r:id="rId20"/>
    <p:sldId id="261" r:id="rId21"/>
  </p:sldIdLst>
  <p:sldSz cx="12192000" cy="6858000"/>
  <p:notesSz cx="6858000" cy="9144000"/>
  <p:embeddedFontLst>
    <p:embeddedFont>
      <p:font typeface="方正宋刻本秀楷简体" panose="02010600030101010101" charset="-122"/>
      <p:regular r:id="rId23"/>
    </p:embeddedFont>
    <p:embeddedFont>
      <p:font typeface="微软雅黑" panose="020B0503020204020204" pitchFamily="34" charset="-122"/>
      <p:regular r:id="rId24"/>
      <p:bold r:id="rId25"/>
    </p:embeddedFon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方正粗黑宋简体" panose="02000000000000000000" pitchFamily="2" charset="-122"/>
      <p:regular r:id="rId30"/>
    </p:embeddedFont>
    <p:embeddedFont>
      <p:font typeface="Impact" panose="020B0806030902050204" pitchFamily="34" charset="0"/>
      <p:regular r:id="rId31"/>
    </p:embeddedFont>
    <p:embeddedFont>
      <p:font typeface="华文新魏" panose="02010800040101010101" pitchFamily="2" charset="-122"/>
      <p:regular r:id="rId32"/>
    </p:embeddedFont>
    <p:embeddedFont>
      <p:font typeface="Microsoft YaHei UI" panose="020B0503020204020204" pitchFamily="34" charset="-122"/>
      <p:regular r:id="rId33"/>
      <p:bold r:id="rId34"/>
    </p:embeddedFont>
    <p:embeddedFont>
      <p:font typeface="微软雅黑" panose="020B0503020204020204" pitchFamily="34" charset="-122"/>
      <p:regular r:id="rId24"/>
      <p:bold r:id="rId25"/>
    </p:embeddedFont>
    <p:embeddedFont>
      <p:font typeface="Arial Black" panose="020B0A04020102020204" pitchFamily="34" charset="0"/>
      <p:bold r:id="rId35"/>
    </p:embeddedFont>
  </p:embeddedFontLst>
  <p:custDataLst>
    <p:tags r:id="rId3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13E"/>
    <a:srgbClr val="00103C"/>
    <a:srgbClr val="041743"/>
    <a:srgbClr val="01133F"/>
    <a:srgbClr val="00113E"/>
    <a:srgbClr val="001234"/>
    <a:srgbClr val="CDD0D5"/>
    <a:srgbClr val="001335"/>
    <a:srgbClr val="000F2F"/>
    <a:srgbClr val="000C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12" autoAdjust="0"/>
    <p:restoredTop sz="96182" autoAdjust="0"/>
  </p:normalViewPr>
  <p:slideViewPr>
    <p:cSldViewPr snapToGrid="0">
      <p:cViewPr varScale="1">
        <p:scale>
          <a:sx n="73" d="100"/>
          <a:sy n="73" d="100"/>
        </p:scale>
        <p:origin x="456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59" d="100"/>
          <a:sy n="59" d="100"/>
        </p:scale>
        <p:origin x="192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4.fntdata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font" Target="fonts/font12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7.fntdata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7/16 Tuesday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7C0DF0CD-2944-41F6-A824-E8D24BA442BA}"/>
              </a:ext>
            </a:extLst>
          </p:cNvPr>
          <p:cNvSpPr/>
          <p:nvPr userDrawn="1"/>
        </p:nvSpPr>
        <p:spPr>
          <a:xfrm>
            <a:off x="0" y="5308600"/>
            <a:ext cx="12192000" cy="1549400"/>
          </a:xfrm>
          <a:prstGeom prst="rect">
            <a:avLst/>
          </a:prstGeom>
          <a:solidFill>
            <a:srgbClr val="0013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D83BC291-7AFB-4884-A4A5-286D5CE71900}"/>
              </a:ext>
            </a:extLst>
          </p:cNvPr>
          <p:cNvSpPr/>
          <p:nvPr userDrawn="1"/>
        </p:nvSpPr>
        <p:spPr>
          <a:xfrm>
            <a:off x="0" y="0"/>
            <a:ext cx="12192000" cy="5498104"/>
          </a:xfrm>
          <a:prstGeom prst="rect">
            <a:avLst/>
          </a:prstGeom>
          <a:blipFill>
            <a:blip r:embed="rId2"/>
            <a:srcRect/>
            <a:stretch>
              <a:fillRect t="-21893" b="-288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4318094"/>
            <a:ext cx="10845800" cy="558799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270902"/>
            <a:ext cx="10845800" cy="2901141"/>
          </a:xfrm>
        </p:spPr>
        <p:txBody>
          <a:bodyPr anchor="b" anchorCtr="0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160464"/>
            <a:ext cx="1084580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456735"/>
            <a:ext cx="1084580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90587" y="2981325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91703" y="3876675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1">
                    <a:lumMod val="90000"/>
                    <a:lumOff val="10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FA6F308F-F990-4F72-94D1-770D2E4EE2AF}"/>
              </a:ext>
            </a:extLst>
          </p:cNvPr>
          <p:cNvSpPr/>
          <p:nvPr userDrawn="1"/>
        </p:nvSpPr>
        <p:spPr>
          <a:xfrm>
            <a:off x="0" y="0"/>
            <a:ext cx="12192000" cy="1841500"/>
          </a:xfrm>
          <a:prstGeom prst="rect">
            <a:avLst/>
          </a:prstGeom>
          <a:blipFill>
            <a:blip r:embed="rId2"/>
            <a:srcRect/>
            <a:stretch>
              <a:fillRect t="-67627" b="-2918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C2514-0C97-4323-B8E3-25C9C5FDF83F}" type="datetime1">
              <a:rPr lang="zh-CN" altLang="en-US" smtClean="0"/>
              <a:t>2019/7/16 Tuesday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DD20B0-FF1E-4895-AEED-12064E64BC4E}" type="datetime1">
              <a:rPr lang="zh-CN" altLang="en-US" smtClean="0"/>
              <a:t>2019/7/16 Tuesday</a:t>
            </a:fld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7C0DF0CD-2944-41F6-A824-E8D24BA442BA}"/>
              </a:ext>
            </a:extLst>
          </p:cNvPr>
          <p:cNvSpPr/>
          <p:nvPr userDrawn="1"/>
        </p:nvSpPr>
        <p:spPr>
          <a:xfrm>
            <a:off x="0" y="5308600"/>
            <a:ext cx="12192000" cy="1549400"/>
          </a:xfrm>
          <a:prstGeom prst="rect">
            <a:avLst/>
          </a:prstGeom>
          <a:solidFill>
            <a:srgbClr val="0013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83BC291-7AFB-4884-A4A5-286D5CE71900}"/>
              </a:ext>
            </a:extLst>
          </p:cNvPr>
          <p:cNvSpPr/>
          <p:nvPr userDrawn="1"/>
        </p:nvSpPr>
        <p:spPr>
          <a:xfrm>
            <a:off x="0" y="0"/>
            <a:ext cx="12192000" cy="5498104"/>
          </a:xfrm>
          <a:prstGeom prst="rect">
            <a:avLst/>
          </a:prstGeom>
          <a:blipFill>
            <a:blip r:embed="rId2"/>
            <a:srcRect/>
            <a:stretch>
              <a:fillRect t="-21893" b="-288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098795"/>
            <a:ext cx="10845798" cy="1953176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990781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694510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矩形 50">
            <a:extLst>
              <a:ext uri="{FF2B5EF4-FFF2-40B4-BE49-F238E27FC236}">
                <a16:creationId xmlns:a16="http://schemas.microsoft.com/office/drawing/2014/main" id="{FA6F308F-F990-4F72-94D1-770D2E4EE2AF}"/>
              </a:ext>
            </a:extLst>
          </p:cNvPr>
          <p:cNvSpPr/>
          <p:nvPr userDrawn="1"/>
        </p:nvSpPr>
        <p:spPr>
          <a:xfrm>
            <a:off x="0" y="6497144"/>
            <a:ext cx="12192000" cy="344089"/>
          </a:xfrm>
          <a:prstGeom prst="rect">
            <a:avLst/>
          </a:prstGeom>
          <a:blipFill dpi="0" rotWithShape="1">
            <a:blip r:embed="rId2">
              <a:alphaModFix amt="60000"/>
            </a:blip>
            <a:srcRect/>
            <a:stretch>
              <a:fillRect t="-361927" b="-59136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F0B970F3-899F-4B6A-8544-6BEE66DCD1E8}"/>
              </a:ext>
            </a:extLst>
          </p:cNvPr>
          <p:cNvSpPr/>
          <p:nvPr userDrawn="1"/>
        </p:nvSpPr>
        <p:spPr>
          <a:xfrm>
            <a:off x="0" y="6492875"/>
            <a:ext cx="12192000" cy="365125"/>
          </a:xfrm>
          <a:prstGeom prst="rect">
            <a:avLst/>
          </a:prstGeom>
          <a:solidFill>
            <a:srgbClr val="01113E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FA6F308F-F990-4F72-94D1-770D2E4EE2AF}"/>
              </a:ext>
            </a:extLst>
          </p:cNvPr>
          <p:cNvSpPr/>
          <p:nvPr userDrawn="1"/>
        </p:nvSpPr>
        <p:spPr>
          <a:xfrm>
            <a:off x="18297" y="15765"/>
            <a:ext cx="12192000" cy="1179705"/>
          </a:xfrm>
          <a:prstGeom prst="rect">
            <a:avLst/>
          </a:prstGeom>
          <a:blipFill>
            <a:blip r:embed="rId2"/>
            <a:srcRect/>
            <a:stretch>
              <a:fillRect t="-146292" b="-6092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95C08E6-650F-4716-BD5F-E7309AFAB73E}"/>
              </a:ext>
            </a:extLst>
          </p:cNvPr>
          <p:cNvSpPr/>
          <p:nvPr userDrawn="1"/>
        </p:nvSpPr>
        <p:spPr>
          <a:xfrm>
            <a:off x="0" y="1130300"/>
            <a:ext cx="12192000" cy="5357038"/>
          </a:xfrm>
          <a:prstGeom prst="rect">
            <a:avLst/>
          </a:prstGeom>
          <a:solidFill>
            <a:schemeClr val="bg1">
              <a:alpha val="93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FA154494-C4CB-4134-B170-9FCB65F0E056}"/>
              </a:ext>
            </a:extLst>
          </p:cNvPr>
          <p:cNvGrpSpPr/>
          <p:nvPr userDrawn="1"/>
        </p:nvGrpSpPr>
        <p:grpSpPr>
          <a:xfrm>
            <a:off x="6190092" y="0"/>
            <a:ext cx="6882359" cy="6858000"/>
            <a:chOff x="4804858" y="3977648"/>
            <a:chExt cx="1793875" cy="1787526"/>
          </a:xfrm>
          <a:solidFill>
            <a:schemeClr val="bg1">
              <a:lumMod val="85000"/>
              <a:alpha val="70000"/>
            </a:schemeClr>
          </a:solidFill>
        </p:grpSpPr>
        <p:sp>
          <p:nvSpPr>
            <p:cNvPr id="30" name="Rectangle 51">
              <a:extLst>
                <a:ext uri="{FF2B5EF4-FFF2-40B4-BE49-F238E27FC236}">
                  <a16:creationId xmlns:a16="http://schemas.microsoft.com/office/drawing/2014/main" id="{0CA5A6A9-5F7A-4A1F-A7CB-AF56DD8287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7383" y="4693611"/>
              <a:ext cx="793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52">
              <a:extLst>
                <a:ext uri="{FF2B5EF4-FFF2-40B4-BE49-F238E27FC236}">
                  <a16:creationId xmlns:a16="http://schemas.microsoft.com/office/drawing/2014/main" id="{867A24B0-D9BF-4E18-9D9B-A9B2DB8D13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608" y="4339598"/>
              <a:ext cx="917575" cy="1074738"/>
            </a:xfrm>
            <a:custGeom>
              <a:avLst/>
              <a:gdLst>
                <a:gd name="T0" fmla="*/ 342 w 495"/>
                <a:gd name="T1" fmla="*/ 490 h 581"/>
                <a:gd name="T2" fmla="*/ 267 w 495"/>
                <a:gd name="T3" fmla="*/ 393 h 581"/>
                <a:gd name="T4" fmla="*/ 155 w 495"/>
                <a:gd name="T5" fmla="*/ 426 h 581"/>
                <a:gd name="T6" fmla="*/ 159 w 495"/>
                <a:gd name="T7" fmla="*/ 351 h 581"/>
                <a:gd name="T8" fmla="*/ 108 w 495"/>
                <a:gd name="T9" fmla="*/ 266 h 581"/>
                <a:gd name="T10" fmla="*/ 118 w 495"/>
                <a:gd name="T11" fmla="*/ 114 h 581"/>
                <a:gd name="T12" fmla="*/ 157 w 495"/>
                <a:gd name="T13" fmla="*/ 118 h 581"/>
                <a:gd name="T14" fmla="*/ 168 w 495"/>
                <a:gd name="T15" fmla="*/ 129 h 581"/>
                <a:gd name="T16" fmla="*/ 173 w 495"/>
                <a:gd name="T17" fmla="*/ 168 h 581"/>
                <a:gd name="T18" fmla="*/ 68 w 495"/>
                <a:gd name="T19" fmla="*/ 266 h 581"/>
                <a:gd name="T20" fmla="*/ 153 w 495"/>
                <a:gd name="T21" fmla="*/ 111 h 581"/>
                <a:gd name="T22" fmla="*/ 142 w 495"/>
                <a:gd name="T23" fmla="*/ 149 h 581"/>
                <a:gd name="T24" fmla="*/ 181 w 495"/>
                <a:gd name="T25" fmla="*/ 133 h 581"/>
                <a:gd name="T26" fmla="*/ 182 w 495"/>
                <a:gd name="T27" fmla="*/ 47 h 581"/>
                <a:gd name="T28" fmla="*/ 197 w 495"/>
                <a:gd name="T29" fmla="*/ 282 h 581"/>
                <a:gd name="T30" fmla="*/ 199 w 495"/>
                <a:gd name="T31" fmla="*/ 136 h 581"/>
                <a:gd name="T32" fmla="*/ 201 w 495"/>
                <a:gd name="T33" fmla="*/ 5 h 581"/>
                <a:gd name="T34" fmla="*/ 212 w 495"/>
                <a:gd name="T35" fmla="*/ 61 h 581"/>
                <a:gd name="T36" fmla="*/ 256 w 495"/>
                <a:gd name="T37" fmla="*/ 145 h 581"/>
                <a:gd name="T38" fmla="*/ 279 w 495"/>
                <a:gd name="T39" fmla="*/ 84 h 581"/>
                <a:gd name="T40" fmla="*/ 358 w 495"/>
                <a:gd name="T41" fmla="*/ 54 h 581"/>
                <a:gd name="T42" fmla="*/ 412 w 495"/>
                <a:gd name="T43" fmla="*/ 93 h 581"/>
                <a:gd name="T44" fmla="*/ 431 w 495"/>
                <a:gd name="T45" fmla="*/ 95 h 581"/>
                <a:gd name="T46" fmla="*/ 463 w 495"/>
                <a:gd name="T47" fmla="*/ 155 h 581"/>
                <a:gd name="T48" fmla="*/ 222 w 495"/>
                <a:gd name="T49" fmla="*/ 279 h 581"/>
                <a:gd name="T50" fmla="*/ 350 w 495"/>
                <a:gd name="T51" fmla="*/ 257 h 581"/>
                <a:gd name="T52" fmla="*/ 398 w 495"/>
                <a:gd name="T53" fmla="*/ 210 h 581"/>
                <a:gd name="T54" fmla="*/ 407 w 495"/>
                <a:gd name="T55" fmla="*/ 219 h 581"/>
                <a:gd name="T56" fmla="*/ 412 w 495"/>
                <a:gd name="T57" fmla="*/ 451 h 581"/>
                <a:gd name="T58" fmla="*/ 406 w 495"/>
                <a:gd name="T59" fmla="*/ 320 h 581"/>
                <a:gd name="T60" fmla="*/ 469 w 495"/>
                <a:gd name="T61" fmla="*/ 184 h 581"/>
                <a:gd name="T62" fmla="*/ 460 w 495"/>
                <a:gd name="T63" fmla="*/ 233 h 581"/>
                <a:gd name="T64" fmla="*/ 384 w 495"/>
                <a:gd name="T65" fmla="*/ 222 h 581"/>
                <a:gd name="T66" fmla="*/ 421 w 495"/>
                <a:gd name="T67" fmla="*/ 188 h 581"/>
                <a:gd name="T68" fmla="*/ 364 w 495"/>
                <a:gd name="T69" fmla="*/ 225 h 581"/>
                <a:gd name="T70" fmla="*/ 361 w 495"/>
                <a:gd name="T71" fmla="*/ 188 h 581"/>
                <a:gd name="T72" fmla="*/ 387 w 495"/>
                <a:gd name="T73" fmla="*/ 356 h 581"/>
                <a:gd name="T74" fmla="*/ 220 w 495"/>
                <a:gd name="T75" fmla="*/ 351 h 581"/>
                <a:gd name="T76" fmla="*/ 236 w 495"/>
                <a:gd name="T77" fmla="*/ 315 h 581"/>
                <a:gd name="T78" fmla="*/ 207 w 495"/>
                <a:gd name="T79" fmla="*/ 171 h 581"/>
                <a:gd name="T80" fmla="*/ 239 w 495"/>
                <a:gd name="T81" fmla="*/ 166 h 581"/>
                <a:gd name="T82" fmla="*/ 252 w 495"/>
                <a:gd name="T83" fmla="*/ 158 h 581"/>
                <a:gd name="T84" fmla="*/ 270 w 495"/>
                <a:gd name="T85" fmla="*/ 130 h 581"/>
                <a:gd name="T86" fmla="*/ 279 w 495"/>
                <a:gd name="T87" fmla="*/ 100 h 581"/>
                <a:gd name="T88" fmla="*/ 394 w 495"/>
                <a:gd name="T89" fmla="*/ 130 h 581"/>
                <a:gd name="T90" fmla="*/ 438 w 495"/>
                <a:gd name="T91" fmla="*/ 100 h 581"/>
                <a:gd name="T92" fmla="*/ 439 w 495"/>
                <a:gd name="T93" fmla="*/ 153 h 581"/>
                <a:gd name="T94" fmla="*/ 457 w 495"/>
                <a:gd name="T95" fmla="*/ 159 h 581"/>
                <a:gd name="T96" fmla="*/ 475 w 495"/>
                <a:gd name="T97" fmla="*/ 100 h 581"/>
                <a:gd name="T98" fmla="*/ 456 w 495"/>
                <a:gd name="T99" fmla="*/ 80 h 581"/>
                <a:gd name="T100" fmla="*/ 344 w 495"/>
                <a:gd name="T101" fmla="*/ 34 h 581"/>
                <a:gd name="T102" fmla="*/ 207 w 495"/>
                <a:gd name="T103" fmla="*/ 0 h 581"/>
                <a:gd name="T104" fmla="*/ 173 w 495"/>
                <a:gd name="T105" fmla="*/ 7 h 581"/>
                <a:gd name="T106" fmla="*/ 144 w 495"/>
                <a:gd name="T107" fmla="*/ 23 h 581"/>
                <a:gd name="T108" fmla="*/ 122 w 495"/>
                <a:gd name="T109" fmla="*/ 51 h 581"/>
                <a:gd name="T110" fmla="*/ 149 w 495"/>
                <a:gd name="T111" fmla="*/ 82 h 581"/>
                <a:gd name="T112" fmla="*/ 59 w 495"/>
                <a:gd name="T113" fmla="*/ 98 h 581"/>
                <a:gd name="T114" fmla="*/ 108 w 495"/>
                <a:gd name="T115" fmla="*/ 286 h 581"/>
                <a:gd name="T116" fmla="*/ 153 w 495"/>
                <a:gd name="T117" fmla="*/ 307 h 581"/>
                <a:gd name="T118" fmla="*/ 103 w 495"/>
                <a:gd name="T119" fmla="*/ 418 h 581"/>
                <a:gd name="T120" fmla="*/ 495 w 495"/>
                <a:gd name="T121" fmla="*/ 512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95" h="581">
                  <a:moveTo>
                    <a:pt x="370" y="368"/>
                  </a:moveTo>
                  <a:cubicBezTo>
                    <a:pt x="334" y="361"/>
                    <a:pt x="334" y="361"/>
                    <a:pt x="334" y="361"/>
                  </a:cubicBezTo>
                  <a:cubicBezTo>
                    <a:pt x="290" y="370"/>
                    <a:pt x="290" y="370"/>
                    <a:pt x="290" y="370"/>
                  </a:cubicBezTo>
                  <a:cubicBezTo>
                    <a:pt x="299" y="361"/>
                    <a:pt x="299" y="361"/>
                    <a:pt x="299" y="361"/>
                  </a:cubicBezTo>
                  <a:cubicBezTo>
                    <a:pt x="338" y="349"/>
                    <a:pt x="338" y="349"/>
                    <a:pt x="338" y="349"/>
                  </a:cubicBezTo>
                  <a:cubicBezTo>
                    <a:pt x="377" y="362"/>
                    <a:pt x="377" y="362"/>
                    <a:pt x="377" y="362"/>
                  </a:cubicBezTo>
                  <a:lnTo>
                    <a:pt x="370" y="368"/>
                  </a:lnTo>
                  <a:close/>
                  <a:moveTo>
                    <a:pt x="342" y="490"/>
                  </a:moveTo>
                  <a:cubicBezTo>
                    <a:pt x="338" y="469"/>
                    <a:pt x="338" y="469"/>
                    <a:pt x="338" y="469"/>
                  </a:cubicBezTo>
                  <a:cubicBezTo>
                    <a:pt x="350" y="422"/>
                    <a:pt x="350" y="422"/>
                    <a:pt x="350" y="422"/>
                  </a:cubicBezTo>
                  <a:cubicBezTo>
                    <a:pt x="350" y="422"/>
                    <a:pt x="350" y="422"/>
                    <a:pt x="350" y="422"/>
                  </a:cubicBezTo>
                  <a:cubicBezTo>
                    <a:pt x="350" y="422"/>
                    <a:pt x="350" y="422"/>
                    <a:pt x="350" y="422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76" y="493"/>
                    <a:pt x="376" y="493"/>
                    <a:pt x="376" y="493"/>
                  </a:cubicBezTo>
                  <a:cubicBezTo>
                    <a:pt x="365" y="492"/>
                    <a:pt x="354" y="491"/>
                    <a:pt x="342" y="490"/>
                  </a:cubicBezTo>
                  <a:close/>
                  <a:moveTo>
                    <a:pt x="267" y="393"/>
                  </a:moveTo>
                  <a:cubicBezTo>
                    <a:pt x="300" y="401"/>
                    <a:pt x="300" y="401"/>
                    <a:pt x="300" y="401"/>
                  </a:cubicBezTo>
                  <a:cubicBezTo>
                    <a:pt x="345" y="384"/>
                    <a:pt x="345" y="384"/>
                    <a:pt x="345" y="384"/>
                  </a:cubicBezTo>
                  <a:cubicBezTo>
                    <a:pt x="370" y="396"/>
                    <a:pt x="370" y="396"/>
                    <a:pt x="370" y="396"/>
                  </a:cubicBezTo>
                  <a:cubicBezTo>
                    <a:pt x="345" y="392"/>
                    <a:pt x="345" y="392"/>
                    <a:pt x="345" y="392"/>
                  </a:cubicBezTo>
                  <a:cubicBezTo>
                    <a:pt x="299" y="409"/>
                    <a:pt x="299" y="409"/>
                    <a:pt x="299" y="409"/>
                  </a:cubicBezTo>
                  <a:lnTo>
                    <a:pt x="267" y="393"/>
                  </a:lnTo>
                  <a:close/>
                  <a:moveTo>
                    <a:pt x="172" y="472"/>
                  </a:moveTo>
                  <a:cubicBezTo>
                    <a:pt x="155" y="426"/>
                    <a:pt x="155" y="426"/>
                    <a:pt x="155" y="426"/>
                  </a:cubicBezTo>
                  <a:cubicBezTo>
                    <a:pt x="132" y="419"/>
                    <a:pt x="132" y="419"/>
                    <a:pt x="132" y="419"/>
                  </a:cubicBezTo>
                  <a:cubicBezTo>
                    <a:pt x="171" y="407"/>
                    <a:pt x="171" y="407"/>
                    <a:pt x="171" y="407"/>
                  </a:cubicBezTo>
                  <a:cubicBezTo>
                    <a:pt x="186" y="457"/>
                    <a:pt x="186" y="457"/>
                    <a:pt x="186" y="457"/>
                  </a:cubicBezTo>
                  <a:cubicBezTo>
                    <a:pt x="278" y="443"/>
                    <a:pt x="278" y="443"/>
                    <a:pt x="278" y="443"/>
                  </a:cubicBezTo>
                  <a:lnTo>
                    <a:pt x="172" y="472"/>
                  </a:lnTo>
                  <a:close/>
                  <a:moveTo>
                    <a:pt x="155" y="326"/>
                  </a:moveTo>
                  <a:cubicBezTo>
                    <a:pt x="159" y="326"/>
                    <a:pt x="159" y="326"/>
                    <a:pt x="159" y="326"/>
                  </a:cubicBezTo>
                  <a:cubicBezTo>
                    <a:pt x="159" y="351"/>
                    <a:pt x="159" y="351"/>
                    <a:pt x="159" y="351"/>
                  </a:cubicBezTo>
                  <a:cubicBezTo>
                    <a:pt x="155" y="351"/>
                    <a:pt x="155" y="351"/>
                    <a:pt x="155" y="351"/>
                  </a:cubicBezTo>
                  <a:lnTo>
                    <a:pt x="155" y="326"/>
                  </a:lnTo>
                  <a:close/>
                  <a:moveTo>
                    <a:pt x="164" y="326"/>
                  </a:moveTo>
                  <a:cubicBezTo>
                    <a:pt x="187" y="326"/>
                    <a:pt x="187" y="326"/>
                    <a:pt x="187" y="326"/>
                  </a:cubicBezTo>
                  <a:cubicBezTo>
                    <a:pt x="187" y="351"/>
                    <a:pt x="187" y="351"/>
                    <a:pt x="187" y="351"/>
                  </a:cubicBezTo>
                  <a:cubicBezTo>
                    <a:pt x="164" y="351"/>
                    <a:pt x="164" y="351"/>
                    <a:pt x="164" y="351"/>
                  </a:cubicBezTo>
                  <a:lnTo>
                    <a:pt x="164" y="326"/>
                  </a:lnTo>
                  <a:close/>
                  <a:moveTo>
                    <a:pt x="108" y="266"/>
                  </a:moveTo>
                  <a:cubicBezTo>
                    <a:pt x="108" y="266"/>
                    <a:pt x="108" y="266"/>
                    <a:pt x="108" y="266"/>
                  </a:cubicBezTo>
                  <a:cubicBezTo>
                    <a:pt x="79" y="266"/>
                    <a:pt x="79" y="266"/>
                    <a:pt x="79" y="266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98"/>
                    <a:pt x="110" y="98"/>
                    <a:pt x="110" y="98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9" y="99"/>
                    <a:pt x="149" y="100"/>
                    <a:pt x="150" y="101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17" y="112"/>
                    <a:pt x="117" y="112"/>
                    <a:pt x="117" y="112"/>
                  </a:cubicBezTo>
                  <a:cubicBezTo>
                    <a:pt x="117" y="112"/>
                    <a:pt x="117" y="112"/>
                    <a:pt x="117" y="112"/>
                  </a:cubicBezTo>
                  <a:cubicBezTo>
                    <a:pt x="113" y="114"/>
                    <a:pt x="113" y="114"/>
                    <a:pt x="113" y="114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4" y="130"/>
                    <a:pt x="124" y="130"/>
                    <a:pt x="124" y="130"/>
                  </a:cubicBezTo>
                  <a:cubicBezTo>
                    <a:pt x="123" y="128"/>
                    <a:pt x="123" y="128"/>
                    <a:pt x="123" y="128"/>
                  </a:cubicBezTo>
                  <a:cubicBezTo>
                    <a:pt x="155" y="115"/>
                    <a:pt x="155" y="115"/>
                    <a:pt x="155" y="115"/>
                  </a:cubicBezTo>
                  <a:cubicBezTo>
                    <a:pt x="156" y="116"/>
                    <a:pt x="157" y="117"/>
                    <a:pt x="157" y="118"/>
                  </a:cubicBezTo>
                  <a:cubicBezTo>
                    <a:pt x="134" y="142"/>
                    <a:pt x="134" y="142"/>
                    <a:pt x="134" y="142"/>
                  </a:cubicBezTo>
                  <a:cubicBezTo>
                    <a:pt x="132" y="141"/>
                    <a:pt x="132" y="141"/>
                    <a:pt x="132" y="141"/>
                  </a:cubicBezTo>
                  <a:cubicBezTo>
                    <a:pt x="132" y="141"/>
                    <a:pt x="132" y="141"/>
                    <a:pt x="132" y="141"/>
                  </a:cubicBezTo>
                  <a:cubicBezTo>
                    <a:pt x="129" y="144"/>
                    <a:pt x="129" y="144"/>
                    <a:pt x="129" y="144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4" y="153"/>
                    <a:pt x="144" y="153"/>
                    <a:pt x="144" y="153"/>
                  </a:cubicBezTo>
                  <a:cubicBezTo>
                    <a:pt x="168" y="129"/>
                    <a:pt x="168" y="129"/>
                    <a:pt x="168" y="129"/>
                  </a:cubicBezTo>
                  <a:cubicBezTo>
                    <a:pt x="169" y="130"/>
                    <a:pt x="170" y="131"/>
                    <a:pt x="171" y="131"/>
                  </a:cubicBezTo>
                  <a:cubicBezTo>
                    <a:pt x="159" y="163"/>
                    <a:pt x="159" y="163"/>
                    <a:pt x="159" y="163"/>
                  </a:cubicBezTo>
                  <a:cubicBezTo>
                    <a:pt x="157" y="162"/>
                    <a:pt x="157" y="162"/>
                    <a:pt x="157" y="162"/>
                  </a:cubicBezTo>
                  <a:cubicBezTo>
                    <a:pt x="157" y="162"/>
                    <a:pt x="157" y="162"/>
                    <a:pt x="157" y="162"/>
                  </a:cubicBezTo>
                  <a:cubicBezTo>
                    <a:pt x="155" y="166"/>
                    <a:pt x="155" y="166"/>
                    <a:pt x="155" y="166"/>
                  </a:cubicBezTo>
                  <a:cubicBezTo>
                    <a:pt x="173" y="173"/>
                    <a:pt x="173" y="173"/>
                    <a:pt x="173" y="173"/>
                  </a:cubicBezTo>
                  <a:cubicBezTo>
                    <a:pt x="175" y="169"/>
                    <a:pt x="175" y="169"/>
                    <a:pt x="175" y="169"/>
                  </a:cubicBezTo>
                  <a:cubicBezTo>
                    <a:pt x="173" y="168"/>
                    <a:pt x="173" y="168"/>
                    <a:pt x="173" y="168"/>
                  </a:cubicBezTo>
                  <a:cubicBezTo>
                    <a:pt x="185" y="137"/>
                    <a:pt x="185" y="137"/>
                    <a:pt x="185" y="137"/>
                  </a:cubicBezTo>
                  <a:cubicBezTo>
                    <a:pt x="187" y="137"/>
                    <a:pt x="188" y="138"/>
                    <a:pt x="190" y="138"/>
                  </a:cubicBezTo>
                  <a:cubicBezTo>
                    <a:pt x="190" y="171"/>
                    <a:pt x="190" y="171"/>
                    <a:pt x="190" y="171"/>
                  </a:cubicBezTo>
                  <a:cubicBezTo>
                    <a:pt x="187" y="171"/>
                    <a:pt x="187" y="171"/>
                    <a:pt x="187" y="171"/>
                  </a:cubicBezTo>
                  <a:cubicBezTo>
                    <a:pt x="187" y="266"/>
                    <a:pt x="187" y="266"/>
                    <a:pt x="187" y="266"/>
                  </a:cubicBezTo>
                  <a:lnTo>
                    <a:pt x="108" y="266"/>
                  </a:lnTo>
                  <a:close/>
                  <a:moveTo>
                    <a:pt x="74" y="266"/>
                  </a:moveTo>
                  <a:cubicBezTo>
                    <a:pt x="68" y="266"/>
                    <a:pt x="68" y="266"/>
                    <a:pt x="68" y="266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74" y="100"/>
                    <a:pt x="74" y="100"/>
                    <a:pt x="74" y="100"/>
                  </a:cubicBezTo>
                  <a:lnTo>
                    <a:pt x="74" y="266"/>
                  </a:lnTo>
                  <a:close/>
                  <a:moveTo>
                    <a:pt x="153" y="111"/>
                  </a:moveTo>
                  <a:cubicBezTo>
                    <a:pt x="153" y="112"/>
                    <a:pt x="154" y="112"/>
                    <a:pt x="154" y="113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4" y="123"/>
                    <a:pt x="124" y="123"/>
                    <a:pt x="124" y="123"/>
                  </a:cubicBezTo>
                  <a:lnTo>
                    <a:pt x="153" y="111"/>
                  </a:lnTo>
                  <a:close/>
                  <a:moveTo>
                    <a:pt x="122" y="57"/>
                  </a:moveTo>
                  <a:cubicBezTo>
                    <a:pt x="123" y="55"/>
                    <a:pt x="123" y="55"/>
                    <a:pt x="123" y="55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5" y="70"/>
                    <a:pt x="155" y="70"/>
                    <a:pt x="155" y="70"/>
                  </a:cubicBezTo>
                  <a:lnTo>
                    <a:pt x="122" y="57"/>
                  </a:lnTo>
                  <a:close/>
                  <a:moveTo>
                    <a:pt x="166" y="124"/>
                  </a:moveTo>
                  <a:cubicBezTo>
                    <a:pt x="166" y="125"/>
                    <a:pt x="167" y="125"/>
                    <a:pt x="168" y="126"/>
                  </a:cubicBezTo>
                  <a:cubicBezTo>
                    <a:pt x="142" y="149"/>
                    <a:pt x="142" y="149"/>
                    <a:pt x="142" y="149"/>
                  </a:cubicBezTo>
                  <a:cubicBezTo>
                    <a:pt x="141" y="148"/>
                    <a:pt x="141" y="148"/>
                    <a:pt x="141" y="148"/>
                  </a:cubicBezTo>
                  <a:lnTo>
                    <a:pt x="166" y="124"/>
                  </a:lnTo>
                  <a:close/>
                  <a:moveTo>
                    <a:pt x="140" y="29"/>
                  </a:moveTo>
                  <a:cubicBezTo>
                    <a:pt x="144" y="30"/>
                    <a:pt x="144" y="30"/>
                    <a:pt x="144" y="30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6" y="56"/>
                    <a:pt x="166" y="56"/>
                    <a:pt x="166" y="56"/>
                  </a:cubicBezTo>
                  <a:lnTo>
                    <a:pt x="140" y="29"/>
                  </a:lnTo>
                  <a:close/>
                  <a:moveTo>
                    <a:pt x="181" y="133"/>
                  </a:moveTo>
                  <a:cubicBezTo>
                    <a:pt x="182" y="133"/>
                    <a:pt x="182" y="134"/>
                    <a:pt x="183" y="134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68" y="165"/>
                    <a:pt x="168" y="165"/>
                    <a:pt x="168" y="165"/>
                  </a:cubicBezTo>
                  <a:lnTo>
                    <a:pt x="181" y="133"/>
                  </a:lnTo>
                  <a:close/>
                  <a:moveTo>
                    <a:pt x="167" y="10"/>
                  </a:moveTo>
                  <a:cubicBezTo>
                    <a:pt x="171" y="17"/>
                    <a:pt x="171" y="17"/>
                    <a:pt x="171" y="17"/>
                  </a:cubicBezTo>
                  <a:cubicBezTo>
                    <a:pt x="185" y="46"/>
                    <a:pt x="185" y="46"/>
                    <a:pt x="185" y="46"/>
                  </a:cubicBezTo>
                  <a:cubicBezTo>
                    <a:pt x="184" y="46"/>
                    <a:pt x="183" y="47"/>
                    <a:pt x="182" y="47"/>
                  </a:cubicBezTo>
                  <a:lnTo>
                    <a:pt x="167" y="10"/>
                  </a:lnTo>
                  <a:close/>
                  <a:moveTo>
                    <a:pt x="197" y="323"/>
                  </a:moveTo>
                  <a:cubicBezTo>
                    <a:pt x="197" y="323"/>
                    <a:pt x="197" y="323"/>
                    <a:pt x="197" y="323"/>
                  </a:cubicBezTo>
                  <a:cubicBezTo>
                    <a:pt x="201" y="328"/>
                    <a:pt x="201" y="328"/>
                    <a:pt x="201" y="328"/>
                  </a:cubicBezTo>
                  <a:cubicBezTo>
                    <a:pt x="201" y="351"/>
                    <a:pt x="201" y="351"/>
                    <a:pt x="201" y="351"/>
                  </a:cubicBezTo>
                  <a:cubicBezTo>
                    <a:pt x="197" y="351"/>
                    <a:pt x="197" y="351"/>
                    <a:pt x="197" y="351"/>
                  </a:cubicBezTo>
                  <a:lnTo>
                    <a:pt x="197" y="323"/>
                  </a:lnTo>
                  <a:close/>
                  <a:moveTo>
                    <a:pt x="197" y="282"/>
                  </a:moveTo>
                  <a:cubicBezTo>
                    <a:pt x="197" y="282"/>
                    <a:pt x="197" y="282"/>
                    <a:pt x="197" y="282"/>
                  </a:cubicBezTo>
                  <a:cubicBezTo>
                    <a:pt x="201" y="287"/>
                    <a:pt x="201" y="287"/>
                    <a:pt x="201" y="287"/>
                  </a:cubicBezTo>
                  <a:cubicBezTo>
                    <a:pt x="201" y="307"/>
                    <a:pt x="201" y="307"/>
                    <a:pt x="201" y="307"/>
                  </a:cubicBezTo>
                  <a:cubicBezTo>
                    <a:pt x="197" y="307"/>
                    <a:pt x="197" y="307"/>
                    <a:pt x="197" y="307"/>
                  </a:cubicBezTo>
                  <a:lnTo>
                    <a:pt x="197" y="282"/>
                  </a:lnTo>
                  <a:close/>
                  <a:moveTo>
                    <a:pt x="197" y="171"/>
                  </a:moveTo>
                  <a:cubicBezTo>
                    <a:pt x="199" y="171"/>
                    <a:pt x="199" y="171"/>
                    <a:pt x="199" y="171"/>
                  </a:cubicBezTo>
                  <a:cubicBezTo>
                    <a:pt x="199" y="136"/>
                    <a:pt x="199" y="136"/>
                    <a:pt x="199" y="136"/>
                  </a:cubicBezTo>
                  <a:cubicBezTo>
                    <a:pt x="200" y="136"/>
                    <a:pt x="201" y="136"/>
                    <a:pt x="201" y="136"/>
                  </a:cubicBezTo>
                  <a:cubicBezTo>
                    <a:pt x="201" y="171"/>
                    <a:pt x="201" y="171"/>
                    <a:pt x="201" y="171"/>
                  </a:cubicBezTo>
                  <a:cubicBezTo>
                    <a:pt x="201" y="171"/>
                    <a:pt x="201" y="171"/>
                    <a:pt x="201" y="171"/>
                  </a:cubicBezTo>
                  <a:cubicBezTo>
                    <a:pt x="201" y="267"/>
                    <a:pt x="201" y="267"/>
                    <a:pt x="201" y="267"/>
                  </a:cubicBezTo>
                  <a:cubicBezTo>
                    <a:pt x="197" y="267"/>
                    <a:pt x="197" y="267"/>
                    <a:pt x="197" y="267"/>
                  </a:cubicBezTo>
                  <a:lnTo>
                    <a:pt x="197" y="171"/>
                  </a:lnTo>
                  <a:close/>
                  <a:moveTo>
                    <a:pt x="199" y="5"/>
                  </a:moveTo>
                  <a:cubicBezTo>
                    <a:pt x="201" y="5"/>
                    <a:pt x="201" y="5"/>
                    <a:pt x="201" y="5"/>
                  </a:cubicBezTo>
                  <a:cubicBezTo>
                    <a:pt x="201" y="45"/>
                    <a:pt x="201" y="45"/>
                    <a:pt x="201" y="45"/>
                  </a:cubicBezTo>
                  <a:cubicBezTo>
                    <a:pt x="201" y="45"/>
                    <a:pt x="200" y="45"/>
                    <a:pt x="199" y="44"/>
                  </a:cubicBezTo>
                  <a:lnTo>
                    <a:pt x="199" y="5"/>
                  </a:lnTo>
                  <a:close/>
                  <a:moveTo>
                    <a:pt x="212" y="61"/>
                  </a:moveTo>
                  <a:cubicBezTo>
                    <a:pt x="217" y="61"/>
                    <a:pt x="222" y="66"/>
                    <a:pt x="222" y="71"/>
                  </a:cubicBezTo>
                  <a:cubicBezTo>
                    <a:pt x="222" y="77"/>
                    <a:pt x="217" y="81"/>
                    <a:pt x="212" y="81"/>
                  </a:cubicBezTo>
                  <a:cubicBezTo>
                    <a:pt x="206" y="81"/>
                    <a:pt x="202" y="77"/>
                    <a:pt x="202" y="71"/>
                  </a:cubicBezTo>
                  <a:cubicBezTo>
                    <a:pt x="202" y="66"/>
                    <a:pt x="206" y="61"/>
                    <a:pt x="212" y="61"/>
                  </a:cubicBezTo>
                  <a:close/>
                  <a:moveTo>
                    <a:pt x="231" y="164"/>
                  </a:moveTo>
                  <a:cubicBezTo>
                    <a:pt x="230" y="164"/>
                    <a:pt x="230" y="164"/>
                    <a:pt x="230" y="164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220" y="130"/>
                    <a:pt x="220" y="130"/>
                    <a:pt x="220" y="130"/>
                  </a:cubicBezTo>
                  <a:lnTo>
                    <a:pt x="231" y="164"/>
                  </a:lnTo>
                  <a:close/>
                  <a:moveTo>
                    <a:pt x="233" y="119"/>
                  </a:moveTo>
                  <a:cubicBezTo>
                    <a:pt x="258" y="143"/>
                    <a:pt x="258" y="143"/>
                    <a:pt x="258" y="143"/>
                  </a:cubicBezTo>
                  <a:cubicBezTo>
                    <a:pt x="256" y="145"/>
                    <a:pt x="256" y="145"/>
                    <a:pt x="256" y="145"/>
                  </a:cubicBezTo>
                  <a:cubicBezTo>
                    <a:pt x="231" y="120"/>
                    <a:pt x="231" y="120"/>
                    <a:pt x="231" y="120"/>
                  </a:cubicBezTo>
                  <a:cubicBezTo>
                    <a:pt x="232" y="120"/>
                    <a:pt x="232" y="119"/>
                    <a:pt x="233" y="119"/>
                  </a:cubicBezTo>
                  <a:close/>
                  <a:moveTo>
                    <a:pt x="241" y="103"/>
                  </a:moveTo>
                  <a:cubicBezTo>
                    <a:pt x="273" y="116"/>
                    <a:pt x="273" y="116"/>
                    <a:pt x="273" y="116"/>
                  </a:cubicBezTo>
                  <a:cubicBezTo>
                    <a:pt x="272" y="118"/>
                    <a:pt x="272" y="118"/>
                    <a:pt x="272" y="118"/>
                  </a:cubicBezTo>
                  <a:cubicBezTo>
                    <a:pt x="240" y="104"/>
                    <a:pt x="240" y="104"/>
                    <a:pt x="240" y="104"/>
                  </a:cubicBezTo>
                  <a:cubicBezTo>
                    <a:pt x="240" y="104"/>
                    <a:pt x="241" y="103"/>
                    <a:pt x="241" y="103"/>
                  </a:cubicBezTo>
                  <a:close/>
                  <a:moveTo>
                    <a:pt x="279" y="84"/>
                  </a:moveTo>
                  <a:cubicBezTo>
                    <a:pt x="375" y="84"/>
                    <a:pt x="375" y="84"/>
                    <a:pt x="375" y="84"/>
                  </a:cubicBezTo>
                  <a:cubicBezTo>
                    <a:pt x="375" y="88"/>
                    <a:pt x="375" y="88"/>
                    <a:pt x="375" y="88"/>
                  </a:cubicBezTo>
                  <a:cubicBezTo>
                    <a:pt x="279" y="88"/>
                    <a:pt x="279" y="88"/>
                    <a:pt x="279" y="88"/>
                  </a:cubicBezTo>
                  <a:lnTo>
                    <a:pt x="279" y="84"/>
                  </a:lnTo>
                  <a:close/>
                  <a:moveTo>
                    <a:pt x="359" y="55"/>
                  </a:moveTo>
                  <a:cubicBezTo>
                    <a:pt x="362" y="80"/>
                    <a:pt x="362" y="80"/>
                    <a:pt x="362" y="80"/>
                  </a:cubicBezTo>
                  <a:cubicBezTo>
                    <a:pt x="360" y="80"/>
                    <a:pt x="360" y="80"/>
                    <a:pt x="360" y="80"/>
                  </a:cubicBezTo>
                  <a:cubicBezTo>
                    <a:pt x="358" y="54"/>
                    <a:pt x="358" y="54"/>
                    <a:pt x="358" y="54"/>
                  </a:cubicBezTo>
                  <a:lnTo>
                    <a:pt x="359" y="55"/>
                  </a:lnTo>
                  <a:close/>
                  <a:moveTo>
                    <a:pt x="370" y="67"/>
                  </a:moveTo>
                  <a:cubicBezTo>
                    <a:pt x="397" y="83"/>
                    <a:pt x="397" y="83"/>
                    <a:pt x="397" y="83"/>
                  </a:cubicBezTo>
                  <a:cubicBezTo>
                    <a:pt x="397" y="85"/>
                    <a:pt x="397" y="85"/>
                    <a:pt x="397" y="85"/>
                  </a:cubicBezTo>
                  <a:cubicBezTo>
                    <a:pt x="370" y="72"/>
                    <a:pt x="370" y="72"/>
                    <a:pt x="370" y="72"/>
                  </a:cubicBezTo>
                  <a:lnTo>
                    <a:pt x="370" y="67"/>
                  </a:lnTo>
                  <a:close/>
                  <a:moveTo>
                    <a:pt x="411" y="89"/>
                  </a:moveTo>
                  <a:cubicBezTo>
                    <a:pt x="412" y="93"/>
                    <a:pt x="412" y="93"/>
                    <a:pt x="412" y="93"/>
                  </a:cubicBezTo>
                  <a:cubicBezTo>
                    <a:pt x="382" y="99"/>
                    <a:pt x="382" y="99"/>
                    <a:pt x="382" y="99"/>
                  </a:cubicBezTo>
                  <a:cubicBezTo>
                    <a:pt x="378" y="97"/>
                    <a:pt x="378" y="97"/>
                    <a:pt x="378" y="97"/>
                  </a:cubicBezTo>
                  <a:lnTo>
                    <a:pt x="411" y="89"/>
                  </a:lnTo>
                  <a:close/>
                  <a:moveTo>
                    <a:pt x="431" y="95"/>
                  </a:moveTo>
                  <a:cubicBezTo>
                    <a:pt x="403" y="130"/>
                    <a:pt x="403" y="130"/>
                    <a:pt x="403" y="130"/>
                  </a:cubicBezTo>
                  <a:cubicBezTo>
                    <a:pt x="400" y="127"/>
                    <a:pt x="400" y="127"/>
                    <a:pt x="400" y="127"/>
                  </a:cubicBezTo>
                  <a:cubicBezTo>
                    <a:pt x="428" y="91"/>
                    <a:pt x="428" y="91"/>
                    <a:pt x="428" y="91"/>
                  </a:cubicBezTo>
                  <a:lnTo>
                    <a:pt x="431" y="95"/>
                  </a:lnTo>
                  <a:close/>
                  <a:moveTo>
                    <a:pt x="447" y="98"/>
                  </a:moveTo>
                  <a:cubicBezTo>
                    <a:pt x="432" y="144"/>
                    <a:pt x="432" y="144"/>
                    <a:pt x="432" y="144"/>
                  </a:cubicBezTo>
                  <a:cubicBezTo>
                    <a:pt x="430" y="143"/>
                    <a:pt x="430" y="143"/>
                    <a:pt x="430" y="143"/>
                  </a:cubicBezTo>
                  <a:cubicBezTo>
                    <a:pt x="445" y="96"/>
                    <a:pt x="445" y="96"/>
                    <a:pt x="445" y="96"/>
                  </a:cubicBezTo>
                  <a:lnTo>
                    <a:pt x="447" y="98"/>
                  </a:lnTo>
                  <a:close/>
                  <a:moveTo>
                    <a:pt x="461" y="95"/>
                  </a:moveTo>
                  <a:cubicBezTo>
                    <a:pt x="463" y="95"/>
                    <a:pt x="463" y="95"/>
                    <a:pt x="463" y="95"/>
                  </a:cubicBezTo>
                  <a:cubicBezTo>
                    <a:pt x="463" y="155"/>
                    <a:pt x="463" y="155"/>
                    <a:pt x="463" y="155"/>
                  </a:cubicBezTo>
                  <a:cubicBezTo>
                    <a:pt x="461" y="155"/>
                    <a:pt x="461" y="155"/>
                    <a:pt x="461" y="155"/>
                  </a:cubicBezTo>
                  <a:lnTo>
                    <a:pt x="461" y="95"/>
                  </a:lnTo>
                  <a:close/>
                  <a:moveTo>
                    <a:pt x="207" y="286"/>
                  </a:moveTo>
                  <a:cubicBezTo>
                    <a:pt x="217" y="286"/>
                    <a:pt x="217" y="286"/>
                    <a:pt x="217" y="286"/>
                  </a:cubicBezTo>
                  <a:cubicBezTo>
                    <a:pt x="217" y="307"/>
                    <a:pt x="217" y="307"/>
                    <a:pt x="217" y="307"/>
                  </a:cubicBezTo>
                  <a:cubicBezTo>
                    <a:pt x="207" y="307"/>
                    <a:pt x="207" y="307"/>
                    <a:pt x="207" y="307"/>
                  </a:cubicBezTo>
                  <a:lnTo>
                    <a:pt x="207" y="286"/>
                  </a:lnTo>
                  <a:close/>
                  <a:moveTo>
                    <a:pt x="222" y="279"/>
                  </a:moveTo>
                  <a:cubicBezTo>
                    <a:pt x="226" y="276"/>
                    <a:pt x="226" y="276"/>
                    <a:pt x="226" y="276"/>
                  </a:cubicBezTo>
                  <a:cubicBezTo>
                    <a:pt x="226" y="311"/>
                    <a:pt x="226" y="311"/>
                    <a:pt x="226" y="311"/>
                  </a:cubicBezTo>
                  <a:cubicBezTo>
                    <a:pt x="222" y="309"/>
                    <a:pt x="222" y="309"/>
                    <a:pt x="222" y="309"/>
                  </a:cubicBezTo>
                  <a:lnTo>
                    <a:pt x="222" y="279"/>
                  </a:lnTo>
                  <a:close/>
                  <a:moveTo>
                    <a:pt x="345" y="260"/>
                  </a:moveTo>
                  <a:cubicBezTo>
                    <a:pt x="345" y="236"/>
                    <a:pt x="345" y="236"/>
                    <a:pt x="345" y="236"/>
                  </a:cubicBezTo>
                  <a:cubicBezTo>
                    <a:pt x="348" y="236"/>
                    <a:pt x="348" y="236"/>
                    <a:pt x="348" y="236"/>
                  </a:cubicBezTo>
                  <a:cubicBezTo>
                    <a:pt x="350" y="257"/>
                    <a:pt x="350" y="257"/>
                    <a:pt x="350" y="257"/>
                  </a:cubicBezTo>
                  <a:cubicBezTo>
                    <a:pt x="365" y="285"/>
                    <a:pt x="365" y="285"/>
                    <a:pt x="365" y="285"/>
                  </a:cubicBezTo>
                  <a:lnTo>
                    <a:pt x="345" y="260"/>
                  </a:lnTo>
                  <a:close/>
                  <a:moveTo>
                    <a:pt x="397" y="192"/>
                  </a:moveTo>
                  <a:cubicBezTo>
                    <a:pt x="397" y="182"/>
                    <a:pt x="397" y="182"/>
                    <a:pt x="397" y="182"/>
                  </a:cubicBezTo>
                  <a:cubicBezTo>
                    <a:pt x="401" y="182"/>
                    <a:pt x="401" y="182"/>
                    <a:pt x="401" y="182"/>
                  </a:cubicBezTo>
                  <a:cubicBezTo>
                    <a:pt x="409" y="190"/>
                    <a:pt x="409" y="190"/>
                    <a:pt x="409" y="190"/>
                  </a:cubicBezTo>
                  <a:cubicBezTo>
                    <a:pt x="407" y="204"/>
                    <a:pt x="407" y="204"/>
                    <a:pt x="407" y="204"/>
                  </a:cubicBezTo>
                  <a:cubicBezTo>
                    <a:pt x="398" y="210"/>
                    <a:pt x="398" y="210"/>
                    <a:pt x="398" y="210"/>
                  </a:cubicBezTo>
                  <a:cubicBezTo>
                    <a:pt x="395" y="210"/>
                    <a:pt x="395" y="210"/>
                    <a:pt x="395" y="210"/>
                  </a:cubicBezTo>
                  <a:cubicBezTo>
                    <a:pt x="395" y="203"/>
                    <a:pt x="395" y="203"/>
                    <a:pt x="395" y="203"/>
                  </a:cubicBezTo>
                  <a:cubicBezTo>
                    <a:pt x="400" y="203"/>
                    <a:pt x="400" y="203"/>
                    <a:pt x="400" y="203"/>
                  </a:cubicBezTo>
                  <a:cubicBezTo>
                    <a:pt x="400" y="201"/>
                    <a:pt x="400" y="201"/>
                    <a:pt x="400" y="201"/>
                  </a:cubicBezTo>
                  <a:cubicBezTo>
                    <a:pt x="395" y="201"/>
                    <a:pt x="395" y="201"/>
                    <a:pt x="395" y="201"/>
                  </a:cubicBezTo>
                  <a:cubicBezTo>
                    <a:pt x="395" y="192"/>
                    <a:pt x="395" y="192"/>
                    <a:pt x="395" y="192"/>
                  </a:cubicBezTo>
                  <a:lnTo>
                    <a:pt x="397" y="192"/>
                  </a:lnTo>
                  <a:close/>
                  <a:moveTo>
                    <a:pt x="407" y="219"/>
                  </a:moveTo>
                  <a:cubicBezTo>
                    <a:pt x="401" y="219"/>
                    <a:pt x="401" y="219"/>
                    <a:pt x="401" y="219"/>
                  </a:cubicBezTo>
                  <a:cubicBezTo>
                    <a:pt x="401" y="212"/>
                    <a:pt x="401" y="212"/>
                    <a:pt x="401" y="212"/>
                  </a:cubicBezTo>
                  <a:cubicBezTo>
                    <a:pt x="412" y="206"/>
                    <a:pt x="412" y="206"/>
                    <a:pt x="412" y="206"/>
                  </a:cubicBezTo>
                  <a:lnTo>
                    <a:pt x="407" y="219"/>
                  </a:lnTo>
                  <a:close/>
                  <a:moveTo>
                    <a:pt x="413" y="497"/>
                  </a:moveTo>
                  <a:cubicBezTo>
                    <a:pt x="426" y="428"/>
                    <a:pt x="426" y="428"/>
                    <a:pt x="426" y="428"/>
                  </a:cubicBezTo>
                  <a:cubicBezTo>
                    <a:pt x="423" y="403"/>
                    <a:pt x="423" y="403"/>
                    <a:pt x="423" y="403"/>
                  </a:cubicBezTo>
                  <a:cubicBezTo>
                    <a:pt x="412" y="451"/>
                    <a:pt x="412" y="451"/>
                    <a:pt x="412" y="451"/>
                  </a:cubicBezTo>
                  <a:cubicBezTo>
                    <a:pt x="406" y="451"/>
                    <a:pt x="406" y="451"/>
                    <a:pt x="406" y="451"/>
                  </a:cubicBezTo>
                  <a:cubicBezTo>
                    <a:pt x="406" y="408"/>
                    <a:pt x="406" y="408"/>
                    <a:pt x="406" y="408"/>
                  </a:cubicBezTo>
                  <a:cubicBezTo>
                    <a:pt x="424" y="395"/>
                    <a:pt x="424" y="395"/>
                    <a:pt x="424" y="395"/>
                  </a:cubicBezTo>
                  <a:cubicBezTo>
                    <a:pt x="433" y="320"/>
                    <a:pt x="433" y="320"/>
                    <a:pt x="433" y="320"/>
                  </a:cubicBezTo>
                  <a:cubicBezTo>
                    <a:pt x="398" y="400"/>
                    <a:pt x="398" y="400"/>
                    <a:pt x="398" y="400"/>
                  </a:cubicBezTo>
                  <a:cubicBezTo>
                    <a:pt x="395" y="400"/>
                    <a:pt x="395" y="400"/>
                    <a:pt x="395" y="400"/>
                  </a:cubicBezTo>
                  <a:cubicBezTo>
                    <a:pt x="395" y="351"/>
                    <a:pt x="395" y="351"/>
                    <a:pt x="395" y="351"/>
                  </a:cubicBezTo>
                  <a:cubicBezTo>
                    <a:pt x="406" y="320"/>
                    <a:pt x="406" y="320"/>
                    <a:pt x="406" y="320"/>
                  </a:cubicBezTo>
                  <a:cubicBezTo>
                    <a:pt x="385" y="302"/>
                    <a:pt x="385" y="302"/>
                    <a:pt x="385" y="302"/>
                  </a:cubicBezTo>
                  <a:cubicBezTo>
                    <a:pt x="406" y="280"/>
                    <a:pt x="406" y="280"/>
                    <a:pt x="406" y="280"/>
                  </a:cubicBezTo>
                  <a:cubicBezTo>
                    <a:pt x="413" y="284"/>
                    <a:pt x="413" y="284"/>
                    <a:pt x="413" y="284"/>
                  </a:cubicBezTo>
                  <a:cubicBezTo>
                    <a:pt x="404" y="301"/>
                    <a:pt x="404" y="301"/>
                    <a:pt x="404" y="301"/>
                  </a:cubicBezTo>
                  <a:cubicBezTo>
                    <a:pt x="425" y="319"/>
                    <a:pt x="425" y="319"/>
                    <a:pt x="425" y="319"/>
                  </a:cubicBezTo>
                  <a:cubicBezTo>
                    <a:pt x="456" y="296"/>
                    <a:pt x="456" y="296"/>
                    <a:pt x="456" y="296"/>
                  </a:cubicBezTo>
                  <a:cubicBezTo>
                    <a:pt x="478" y="218"/>
                    <a:pt x="478" y="218"/>
                    <a:pt x="478" y="218"/>
                  </a:cubicBezTo>
                  <a:cubicBezTo>
                    <a:pt x="469" y="184"/>
                    <a:pt x="469" y="184"/>
                    <a:pt x="469" y="184"/>
                  </a:cubicBezTo>
                  <a:cubicBezTo>
                    <a:pt x="482" y="173"/>
                    <a:pt x="482" y="173"/>
                    <a:pt x="482" y="173"/>
                  </a:cubicBezTo>
                  <a:cubicBezTo>
                    <a:pt x="486" y="167"/>
                    <a:pt x="486" y="167"/>
                    <a:pt x="486" y="167"/>
                  </a:cubicBezTo>
                  <a:cubicBezTo>
                    <a:pt x="485" y="167"/>
                    <a:pt x="485" y="167"/>
                    <a:pt x="485" y="167"/>
                  </a:cubicBezTo>
                  <a:cubicBezTo>
                    <a:pt x="485" y="167"/>
                    <a:pt x="485" y="167"/>
                    <a:pt x="485" y="167"/>
                  </a:cubicBezTo>
                  <a:cubicBezTo>
                    <a:pt x="462" y="176"/>
                    <a:pt x="462" y="176"/>
                    <a:pt x="462" y="176"/>
                  </a:cubicBezTo>
                  <a:cubicBezTo>
                    <a:pt x="457" y="226"/>
                    <a:pt x="457" y="226"/>
                    <a:pt x="457" y="226"/>
                  </a:cubicBezTo>
                  <a:cubicBezTo>
                    <a:pt x="417" y="228"/>
                    <a:pt x="417" y="228"/>
                    <a:pt x="417" y="228"/>
                  </a:cubicBezTo>
                  <a:cubicBezTo>
                    <a:pt x="460" y="233"/>
                    <a:pt x="460" y="233"/>
                    <a:pt x="460" y="233"/>
                  </a:cubicBezTo>
                  <a:cubicBezTo>
                    <a:pt x="416" y="240"/>
                    <a:pt x="416" y="240"/>
                    <a:pt x="416" y="240"/>
                  </a:cubicBezTo>
                  <a:cubicBezTo>
                    <a:pt x="421" y="255"/>
                    <a:pt x="421" y="255"/>
                    <a:pt x="421" y="255"/>
                  </a:cubicBezTo>
                  <a:cubicBezTo>
                    <a:pt x="413" y="265"/>
                    <a:pt x="413" y="265"/>
                    <a:pt x="413" y="265"/>
                  </a:cubicBezTo>
                  <a:cubicBezTo>
                    <a:pt x="394" y="257"/>
                    <a:pt x="394" y="257"/>
                    <a:pt x="394" y="257"/>
                  </a:cubicBezTo>
                  <a:cubicBezTo>
                    <a:pt x="377" y="266"/>
                    <a:pt x="377" y="266"/>
                    <a:pt x="377" y="266"/>
                  </a:cubicBezTo>
                  <a:cubicBezTo>
                    <a:pt x="368" y="256"/>
                    <a:pt x="368" y="256"/>
                    <a:pt x="368" y="256"/>
                  </a:cubicBezTo>
                  <a:cubicBezTo>
                    <a:pt x="379" y="222"/>
                    <a:pt x="379" y="222"/>
                    <a:pt x="379" y="222"/>
                  </a:cubicBezTo>
                  <a:cubicBezTo>
                    <a:pt x="384" y="222"/>
                    <a:pt x="384" y="222"/>
                    <a:pt x="384" y="222"/>
                  </a:cubicBezTo>
                  <a:cubicBezTo>
                    <a:pt x="387" y="251"/>
                    <a:pt x="387" y="251"/>
                    <a:pt x="387" y="251"/>
                  </a:cubicBezTo>
                  <a:cubicBezTo>
                    <a:pt x="394" y="230"/>
                    <a:pt x="394" y="230"/>
                    <a:pt x="394" y="230"/>
                  </a:cubicBezTo>
                  <a:cubicBezTo>
                    <a:pt x="411" y="231"/>
                    <a:pt x="411" y="231"/>
                    <a:pt x="411" y="231"/>
                  </a:cubicBezTo>
                  <a:cubicBezTo>
                    <a:pt x="404" y="228"/>
                    <a:pt x="404" y="228"/>
                    <a:pt x="404" y="228"/>
                  </a:cubicBezTo>
                  <a:cubicBezTo>
                    <a:pt x="415" y="227"/>
                    <a:pt x="415" y="227"/>
                    <a:pt x="415" y="227"/>
                  </a:cubicBezTo>
                  <a:cubicBezTo>
                    <a:pt x="412" y="220"/>
                    <a:pt x="412" y="220"/>
                    <a:pt x="412" y="220"/>
                  </a:cubicBezTo>
                  <a:cubicBezTo>
                    <a:pt x="418" y="210"/>
                    <a:pt x="418" y="210"/>
                    <a:pt x="418" y="210"/>
                  </a:cubicBezTo>
                  <a:cubicBezTo>
                    <a:pt x="421" y="188"/>
                    <a:pt x="421" y="188"/>
                    <a:pt x="421" y="188"/>
                  </a:cubicBezTo>
                  <a:cubicBezTo>
                    <a:pt x="406" y="175"/>
                    <a:pt x="406" y="175"/>
                    <a:pt x="406" y="175"/>
                  </a:cubicBezTo>
                  <a:cubicBezTo>
                    <a:pt x="394" y="176"/>
                    <a:pt x="394" y="176"/>
                    <a:pt x="394" y="176"/>
                  </a:cubicBezTo>
                  <a:cubicBezTo>
                    <a:pt x="384" y="184"/>
                    <a:pt x="384" y="184"/>
                    <a:pt x="384" y="184"/>
                  </a:cubicBezTo>
                  <a:cubicBezTo>
                    <a:pt x="381" y="122"/>
                    <a:pt x="381" y="122"/>
                    <a:pt x="381" y="122"/>
                  </a:cubicBezTo>
                  <a:cubicBezTo>
                    <a:pt x="378" y="118"/>
                    <a:pt x="378" y="118"/>
                    <a:pt x="378" y="118"/>
                  </a:cubicBezTo>
                  <a:cubicBezTo>
                    <a:pt x="375" y="221"/>
                    <a:pt x="375" y="221"/>
                    <a:pt x="375" y="221"/>
                  </a:cubicBezTo>
                  <a:cubicBezTo>
                    <a:pt x="367" y="233"/>
                    <a:pt x="367" y="233"/>
                    <a:pt x="367" y="233"/>
                  </a:cubicBezTo>
                  <a:cubicBezTo>
                    <a:pt x="367" y="233"/>
                    <a:pt x="366" y="232"/>
                    <a:pt x="364" y="225"/>
                  </a:cubicBezTo>
                  <a:cubicBezTo>
                    <a:pt x="362" y="218"/>
                    <a:pt x="365" y="200"/>
                    <a:pt x="365" y="200"/>
                  </a:cubicBezTo>
                  <a:cubicBezTo>
                    <a:pt x="373" y="120"/>
                    <a:pt x="373" y="120"/>
                    <a:pt x="373" y="120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63" y="176"/>
                    <a:pt x="363" y="176"/>
                    <a:pt x="363" y="176"/>
                  </a:cubicBezTo>
                  <a:cubicBezTo>
                    <a:pt x="345" y="189"/>
                    <a:pt x="345" y="189"/>
                    <a:pt x="345" y="189"/>
                  </a:cubicBezTo>
                  <a:cubicBezTo>
                    <a:pt x="340" y="215"/>
                    <a:pt x="340" y="215"/>
                    <a:pt x="340" y="215"/>
                  </a:cubicBezTo>
                  <a:cubicBezTo>
                    <a:pt x="347" y="195"/>
                    <a:pt x="347" y="195"/>
                    <a:pt x="347" y="195"/>
                  </a:cubicBezTo>
                  <a:cubicBezTo>
                    <a:pt x="361" y="188"/>
                    <a:pt x="361" y="188"/>
                    <a:pt x="361" y="188"/>
                  </a:cubicBezTo>
                  <a:cubicBezTo>
                    <a:pt x="359" y="201"/>
                    <a:pt x="359" y="201"/>
                    <a:pt x="359" y="201"/>
                  </a:cubicBezTo>
                  <a:cubicBezTo>
                    <a:pt x="350" y="207"/>
                    <a:pt x="350" y="207"/>
                    <a:pt x="350" y="207"/>
                  </a:cubicBezTo>
                  <a:cubicBezTo>
                    <a:pt x="332" y="230"/>
                    <a:pt x="332" y="230"/>
                    <a:pt x="332" y="230"/>
                  </a:cubicBezTo>
                  <a:cubicBezTo>
                    <a:pt x="330" y="270"/>
                    <a:pt x="330" y="270"/>
                    <a:pt x="330" y="270"/>
                  </a:cubicBezTo>
                  <a:cubicBezTo>
                    <a:pt x="370" y="304"/>
                    <a:pt x="370" y="304"/>
                    <a:pt x="370" y="304"/>
                  </a:cubicBezTo>
                  <a:cubicBezTo>
                    <a:pt x="361" y="327"/>
                    <a:pt x="361" y="327"/>
                    <a:pt x="361" y="327"/>
                  </a:cubicBezTo>
                  <a:cubicBezTo>
                    <a:pt x="394" y="351"/>
                    <a:pt x="394" y="351"/>
                    <a:pt x="394" y="351"/>
                  </a:cubicBezTo>
                  <a:cubicBezTo>
                    <a:pt x="387" y="356"/>
                    <a:pt x="387" y="356"/>
                    <a:pt x="387" y="356"/>
                  </a:cubicBezTo>
                  <a:cubicBezTo>
                    <a:pt x="350" y="337"/>
                    <a:pt x="350" y="337"/>
                    <a:pt x="350" y="337"/>
                  </a:cubicBezTo>
                  <a:cubicBezTo>
                    <a:pt x="361" y="327"/>
                    <a:pt x="361" y="327"/>
                    <a:pt x="361" y="327"/>
                  </a:cubicBezTo>
                  <a:cubicBezTo>
                    <a:pt x="290" y="318"/>
                    <a:pt x="290" y="318"/>
                    <a:pt x="290" y="318"/>
                  </a:cubicBezTo>
                  <a:cubicBezTo>
                    <a:pt x="253" y="336"/>
                    <a:pt x="253" y="336"/>
                    <a:pt x="253" y="336"/>
                  </a:cubicBezTo>
                  <a:cubicBezTo>
                    <a:pt x="253" y="350"/>
                    <a:pt x="253" y="350"/>
                    <a:pt x="253" y="350"/>
                  </a:cubicBezTo>
                  <a:cubicBezTo>
                    <a:pt x="253" y="367"/>
                    <a:pt x="253" y="367"/>
                    <a:pt x="253" y="367"/>
                  </a:cubicBezTo>
                  <a:cubicBezTo>
                    <a:pt x="229" y="367"/>
                    <a:pt x="229" y="367"/>
                    <a:pt x="229" y="367"/>
                  </a:cubicBezTo>
                  <a:cubicBezTo>
                    <a:pt x="220" y="351"/>
                    <a:pt x="220" y="351"/>
                    <a:pt x="220" y="351"/>
                  </a:cubicBezTo>
                  <a:cubicBezTo>
                    <a:pt x="207" y="351"/>
                    <a:pt x="207" y="351"/>
                    <a:pt x="207" y="351"/>
                  </a:cubicBezTo>
                  <a:cubicBezTo>
                    <a:pt x="207" y="326"/>
                    <a:pt x="207" y="326"/>
                    <a:pt x="207" y="326"/>
                  </a:cubicBezTo>
                  <a:cubicBezTo>
                    <a:pt x="227" y="326"/>
                    <a:pt x="227" y="326"/>
                    <a:pt x="227" y="326"/>
                  </a:cubicBezTo>
                  <a:cubicBezTo>
                    <a:pt x="227" y="326"/>
                    <a:pt x="227" y="326"/>
                    <a:pt x="227" y="326"/>
                  </a:cubicBezTo>
                  <a:cubicBezTo>
                    <a:pt x="232" y="326"/>
                    <a:pt x="235" y="323"/>
                    <a:pt x="235" y="318"/>
                  </a:cubicBezTo>
                  <a:cubicBezTo>
                    <a:pt x="235" y="318"/>
                    <a:pt x="235" y="318"/>
                    <a:pt x="235" y="318"/>
                  </a:cubicBezTo>
                  <a:cubicBezTo>
                    <a:pt x="235" y="315"/>
                    <a:pt x="235" y="315"/>
                    <a:pt x="235" y="315"/>
                  </a:cubicBezTo>
                  <a:cubicBezTo>
                    <a:pt x="236" y="315"/>
                    <a:pt x="236" y="315"/>
                    <a:pt x="236" y="315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6" y="275"/>
                    <a:pt x="236" y="275"/>
                    <a:pt x="236" y="275"/>
                  </a:cubicBezTo>
                  <a:cubicBezTo>
                    <a:pt x="236" y="275"/>
                    <a:pt x="236" y="275"/>
                    <a:pt x="236" y="274"/>
                  </a:cubicBezTo>
                  <a:cubicBezTo>
                    <a:pt x="236" y="270"/>
                    <a:pt x="232" y="266"/>
                    <a:pt x="228" y="266"/>
                  </a:cubicBezTo>
                  <a:cubicBezTo>
                    <a:pt x="227" y="266"/>
                    <a:pt x="227" y="266"/>
                    <a:pt x="227" y="266"/>
                  </a:cubicBezTo>
                  <a:cubicBezTo>
                    <a:pt x="207" y="266"/>
                    <a:pt x="207" y="266"/>
                    <a:pt x="207" y="266"/>
                  </a:cubicBezTo>
                  <a:cubicBezTo>
                    <a:pt x="207" y="171"/>
                    <a:pt x="207" y="171"/>
                    <a:pt x="207" y="171"/>
                  </a:cubicBezTo>
                  <a:cubicBezTo>
                    <a:pt x="205" y="171"/>
                    <a:pt x="205" y="171"/>
                    <a:pt x="205" y="171"/>
                  </a:cubicBezTo>
                  <a:cubicBezTo>
                    <a:pt x="205" y="138"/>
                    <a:pt x="205" y="138"/>
                    <a:pt x="205" y="138"/>
                  </a:cubicBezTo>
                  <a:cubicBezTo>
                    <a:pt x="206" y="137"/>
                    <a:pt x="208" y="137"/>
                    <a:pt x="209" y="137"/>
                  </a:cubicBezTo>
                  <a:cubicBezTo>
                    <a:pt x="221" y="168"/>
                    <a:pt x="221" y="168"/>
                    <a:pt x="221" y="168"/>
                  </a:cubicBezTo>
                  <a:cubicBezTo>
                    <a:pt x="219" y="169"/>
                    <a:pt x="219" y="169"/>
                    <a:pt x="219" y="169"/>
                  </a:cubicBezTo>
                  <a:cubicBezTo>
                    <a:pt x="219" y="169"/>
                    <a:pt x="219" y="169"/>
                    <a:pt x="219" y="169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7" y="162"/>
                    <a:pt x="237" y="162"/>
                    <a:pt x="237" y="162"/>
                  </a:cubicBezTo>
                  <a:cubicBezTo>
                    <a:pt x="235" y="163"/>
                    <a:pt x="235" y="163"/>
                    <a:pt x="235" y="163"/>
                  </a:cubicBezTo>
                  <a:cubicBezTo>
                    <a:pt x="223" y="131"/>
                    <a:pt x="223" y="131"/>
                    <a:pt x="223" y="131"/>
                  </a:cubicBezTo>
                  <a:cubicBezTo>
                    <a:pt x="224" y="130"/>
                    <a:pt x="225" y="129"/>
                    <a:pt x="226" y="129"/>
                  </a:cubicBezTo>
                  <a:cubicBezTo>
                    <a:pt x="250" y="153"/>
                    <a:pt x="250" y="153"/>
                    <a:pt x="250" y="153"/>
                  </a:cubicBezTo>
                  <a:cubicBezTo>
                    <a:pt x="249" y="155"/>
                    <a:pt x="249" y="155"/>
                    <a:pt x="249" y="155"/>
                  </a:cubicBezTo>
                  <a:cubicBezTo>
                    <a:pt x="249" y="155"/>
                    <a:pt x="249" y="155"/>
                    <a:pt x="249" y="155"/>
                  </a:cubicBezTo>
                  <a:cubicBezTo>
                    <a:pt x="252" y="158"/>
                    <a:pt x="252" y="158"/>
                    <a:pt x="252" y="158"/>
                  </a:cubicBezTo>
                  <a:cubicBezTo>
                    <a:pt x="265" y="144"/>
                    <a:pt x="265" y="144"/>
                    <a:pt x="265" y="144"/>
                  </a:cubicBezTo>
                  <a:cubicBezTo>
                    <a:pt x="262" y="141"/>
                    <a:pt x="262" y="141"/>
                    <a:pt x="262" y="141"/>
                  </a:cubicBezTo>
                  <a:cubicBezTo>
                    <a:pt x="261" y="142"/>
                    <a:pt x="261" y="142"/>
                    <a:pt x="261" y="142"/>
                  </a:cubicBezTo>
                  <a:cubicBezTo>
                    <a:pt x="236" y="118"/>
                    <a:pt x="236" y="118"/>
                    <a:pt x="236" y="118"/>
                  </a:cubicBezTo>
                  <a:cubicBezTo>
                    <a:pt x="237" y="117"/>
                    <a:pt x="237" y="116"/>
                    <a:pt x="238" y="115"/>
                  </a:cubicBezTo>
                  <a:cubicBezTo>
                    <a:pt x="271" y="128"/>
                    <a:pt x="271" y="128"/>
                    <a:pt x="271" y="128"/>
                  </a:cubicBezTo>
                  <a:cubicBezTo>
                    <a:pt x="270" y="130"/>
                    <a:pt x="270" y="130"/>
                    <a:pt x="270" y="130"/>
                  </a:cubicBezTo>
                  <a:cubicBezTo>
                    <a:pt x="270" y="130"/>
                    <a:pt x="270" y="130"/>
                    <a:pt x="270" y="130"/>
                  </a:cubicBezTo>
                  <a:cubicBezTo>
                    <a:pt x="274" y="132"/>
                    <a:pt x="274" y="132"/>
                    <a:pt x="274" y="132"/>
                  </a:cubicBezTo>
                  <a:cubicBezTo>
                    <a:pt x="281" y="114"/>
                    <a:pt x="281" y="114"/>
                    <a:pt x="281" y="114"/>
                  </a:cubicBezTo>
                  <a:cubicBezTo>
                    <a:pt x="277" y="112"/>
                    <a:pt x="277" y="112"/>
                    <a:pt x="277" y="112"/>
                  </a:cubicBezTo>
                  <a:cubicBezTo>
                    <a:pt x="277" y="114"/>
                    <a:pt x="277" y="114"/>
                    <a:pt x="277" y="114"/>
                  </a:cubicBezTo>
                  <a:cubicBezTo>
                    <a:pt x="244" y="101"/>
                    <a:pt x="244" y="101"/>
                    <a:pt x="244" y="101"/>
                  </a:cubicBezTo>
                  <a:cubicBezTo>
                    <a:pt x="244" y="100"/>
                    <a:pt x="244" y="99"/>
                    <a:pt x="244" y="98"/>
                  </a:cubicBezTo>
                  <a:cubicBezTo>
                    <a:pt x="279" y="98"/>
                    <a:pt x="279" y="98"/>
                    <a:pt x="279" y="98"/>
                  </a:cubicBezTo>
                  <a:cubicBezTo>
                    <a:pt x="279" y="100"/>
                    <a:pt x="279" y="100"/>
                    <a:pt x="279" y="100"/>
                  </a:cubicBezTo>
                  <a:cubicBezTo>
                    <a:pt x="368" y="100"/>
                    <a:pt x="368" y="100"/>
                    <a:pt x="368" y="100"/>
                  </a:cubicBezTo>
                  <a:cubicBezTo>
                    <a:pt x="369" y="101"/>
                    <a:pt x="369" y="103"/>
                    <a:pt x="370" y="105"/>
                  </a:cubicBezTo>
                  <a:cubicBezTo>
                    <a:pt x="371" y="109"/>
                    <a:pt x="374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406" y="100"/>
                    <a:pt x="406" y="100"/>
                    <a:pt x="406" y="100"/>
                  </a:cubicBezTo>
                  <a:cubicBezTo>
                    <a:pt x="416" y="100"/>
                    <a:pt x="416" y="100"/>
                    <a:pt x="416" y="100"/>
                  </a:cubicBezTo>
                  <a:cubicBezTo>
                    <a:pt x="394" y="130"/>
                    <a:pt x="394" y="130"/>
                    <a:pt x="394" y="130"/>
                  </a:cubicBezTo>
                  <a:cubicBezTo>
                    <a:pt x="394" y="130"/>
                    <a:pt x="394" y="130"/>
                    <a:pt x="394" y="130"/>
                  </a:cubicBezTo>
                  <a:cubicBezTo>
                    <a:pt x="394" y="130"/>
                    <a:pt x="394" y="130"/>
                    <a:pt x="394" y="130"/>
                  </a:cubicBezTo>
                  <a:cubicBezTo>
                    <a:pt x="394" y="130"/>
                    <a:pt x="394" y="130"/>
                    <a:pt x="394" y="130"/>
                  </a:cubicBezTo>
                  <a:cubicBezTo>
                    <a:pt x="394" y="130"/>
                    <a:pt x="394" y="130"/>
                    <a:pt x="394" y="130"/>
                  </a:cubicBezTo>
                  <a:cubicBezTo>
                    <a:pt x="393" y="131"/>
                    <a:pt x="395" y="134"/>
                    <a:pt x="399" y="136"/>
                  </a:cubicBezTo>
                  <a:cubicBezTo>
                    <a:pt x="403" y="139"/>
                    <a:pt x="406" y="140"/>
                    <a:pt x="407" y="139"/>
                  </a:cubicBezTo>
                  <a:cubicBezTo>
                    <a:pt x="407" y="139"/>
                    <a:pt x="407" y="139"/>
                    <a:pt x="407" y="139"/>
                  </a:cubicBezTo>
                  <a:cubicBezTo>
                    <a:pt x="438" y="100"/>
                    <a:pt x="438" y="100"/>
                    <a:pt x="438" y="100"/>
                  </a:cubicBezTo>
                  <a:cubicBezTo>
                    <a:pt x="439" y="100"/>
                    <a:pt x="439" y="100"/>
                    <a:pt x="439" y="100"/>
                  </a:cubicBezTo>
                  <a:cubicBezTo>
                    <a:pt x="423" y="147"/>
                    <a:pt x="423" y="147"/>
                    <a:pt x="423" y="147"/>
                  </a:cubicBezTo>
                  <a:cubicBezTo>
                    <a:pt x="423" y="147"/>
                    <a:pt x="423" y="147"/>
                    <a:pt x="423" y="147"/>
                  </a:cubicBezTo>
                  <a:cubicBezTo>
                    <a:pt x="423" y="147"/>
                    <a:pt x="423" y="147"/>
                    <a:pt x="423" y="147"/>
                  </a:cubicBezTo>
                  <a:cubicBezTo>
                    <a:pt x="422" y="149"/>
                    <a:pt x="426" y="151"/>
                    <a:pt x="430" y="153"/>
                  </a:cubicBezTo>
                  <a:cubicBezTo>
                    <a:pt x="434" y="154"/>
                    <a:pt x="438" y="155"/>
                    <a:pt x="439" y="153"/>
                  </a:cubicBezTo>
                  <a:cubicBezTo>
                    <a:pt x="439" y="153"/>
                    <a:pt x="439" y="153"/>
                    <a:pt x="439" y="153"/>
                  </a:cubicBezTo>
                  <a:cubicBezTo>
                    <a:pt x="439" y="153"/>
                    <a:pt x="439" y="153"/>
                    <a:pt x="439" y="153"/>
                  </a:cubicBezTo>
                  <a:cubicBezTo>
                    <a:pt x="439" y="153"/>
                    <a:pt x="439" y="153"/>
                    <a:pt x="439" y="153"/>
                  </a:cubicBezTo>
                  <a:cubicBezTo>
                    <a:pt x="439" y="153"/>
                    <a:pt x="439" y="153"/>
                    <a:pt x="439" y="153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7" y="160"/>
                    <a:pt x="461" y="161"/>
                    <a:pt x="466" y="161"/>
                  </a:cubicBezTo>
                  <a:cubicBezTo>
                    <a:pt x="471" y="161"/>
                    <a:pt x="474" y="160"/>
                    <a:pt x="475" y="159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5" y="100"/>
                    <a:pt x="475" y="100"/>
                    <a:pt x="475" y="100"/>
                  </a:cubicBezTo>
                  <a:cubicBezTo>
                    <a:pt x="481" y="100"/>
                    <a:pt x="481" y="100"/>
                    <a:pt x="481" y="100"/>
                  </a:cubicBezTo>
                  <a:cubicBezTo>
                    <a:pt x="481" y="88"/>
                    <a:pt x="481" y="88"/>
                    <a:pt x="481" y="88"/>
                  </a:cubicBezTo>
                  <a:cubicBezTo>
                    <a:pt x="412" y="88"/>
                    <a:pt x="412" y="88"/>
                    <a:pt x="412" y="88"/>
                  </a:cubicBezTo>
                  <a:cubicBezTo>
                    <a:pt x="412" y="84"/>
                    <a:pt x="412" y="84"/>
                    <a:pt x="412" y="84"/>
                  </a:cubicBezTo>
                  <a:cubicBezTo>
                    <a:pt x="481" y="84"/>
                    <a:pt x="481" y="84"/>
                    <a:pt x="481" y="84"/>
                  </a:cubicBezTo>
                  <a:cubicBezTo>
                    <a:pt x="481" y="80"/>
                    <a:pt x="481" y="80"/>
                    <a:pt x="481" y="80"/>
                  </a:cubicBezTo>
                  <a:cubicBezTo>
                    <a:pt x="456" y="80"/>
                    <a:pt x="456" y="80"/>
                    <a:pt x="456" y="80"/>
                  </a:cubicBezTo>
                  <a:cubicBezTo>
                    <a:pt x="456" y="80"/>
                    <a:pt x="456" y="80"/>
                    <a:pt x="456" y="80"/>
                  </a:cubicBezTo>
                  <a:cubicBezTo>
                    <a:pt x="411" y="80"/>
                    <a:pt x="411" y="80"/>
                    <a:pt x="411" y="80"/>
                  </a:cubicBezTo>
                  <a:cubicBezTo>
                    <a:pt x="404" y="79"/>
                    <a:pt x="386" y="75"/>
                    <a:pt x="374" y="63"/>
                  </a:cubicBezTo>
                  <a:cubicBezTo>
                    <a:pt x="357" y="46"/>
                    <a:pt x="357" y="34"/>
                    <a:pt x="357" y="34"/>
                  </a:cubicBezTo>
                  <a:cubicBezTo>
                    <a:pt x="354" y="34"/>
                    <a:pt x="354" y="34"/>
                    <a:pt x="354" y="34"/>
                  </a:cubicBezTo>
                  <a:cubicBezTo>
                    <a:pt x="354" y="80"/>
                    <a:pt x="354" y="80"/>
                    <a:pt x="354" y="80"/>
                  </a:cubicBezTo>
                  <a:cubicBezTo>
                    <a:pt x="350" y="80"/>
                    <a:pt x="350" y="80"/>
                    <a:pt x="350" y="80"/>
                  </a:cubicBezTo>
                  <a:cubicBezTo>
                    <a:pt x="350" y="34"/>
                    <a:pt x="350" y="34"/>
                    <a:pt x="350" y="34"/>
                  </a:cubicBezTo>
                  <a:cubicBezTo>
                    <a:pt x="344" y="34"/>
                    <a:pt x="344" y="34"/>
                    <a:pt x="344" y="34"/>
                  </a:cubicBezTo>
                  <a:cubicBezTo>
                    <a:pt x="344" y="80"/>
                    <a:pt x="344" y="80"/>
                    <a:pt x="344" y="80"/>
                  </a:cubicBezTo>
                  <a:cubicBezTo>
                    <a:pt x="279" y="80"/>
                    <a:pt x="279" y="80"/>
                    <a:pt x="279" y="80"/>
                  </a:cubicBezTo>
                  <a:cubicBezTo>
                    <a:pt x="279" y="82"/>
                    <a:pt x="279" y="82"/>
                    <a:pt x="279" y="82"/>
                  </a:cubicBezTo>
                  <a:cubicBezTo>
                    <a:pt x="244" y="82"/>
                    <a:pt x="244" y="82"/>
                    <a:pt x="244" y="82"/>
                  </a:cubicBezTo>
                  <a:cubicBezTo>
                    <a:pt x="241" y="62"/>
                    <a:pt x="225" y="46"/>
                    <a:pt x="205" y="43"/>
                  </a:cubicBezTo>
                  <a:cubicBezTo>
                    <a:pt x="205" y="4"/>
                    <a:pt x="205" y="4"/>
                    <a:pt x="205" y="4"/>
                  </a:cubicBezTo>
                  <a:cubicBezTo>
                    <a:pt x="207" y="4"/>
                    <a:pt x="207" y="4"/>
                    <a:pt x="207" y="4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90" y="4"/>
                    <a:pt x="190" y="4"/>
                    <a:pt x="190" y="4"/>
                  </a:cubicBezTo>
                  <a:cubicBezTo>
                    <a:pt x="190" y="43"/>
                    <a:pt x="190" y="43"/>
                    <a:pt x="190" y="43"/>
                  </a:cubicBezTo>
                  <a:cubicBezTo>
                    <a:pt x="188" y="43"/>
                    <a:pt x="187" y="43"/>
                    <a:pt x="186" y="43"/>
                  </a:cubicBezTo>
                  <a:cubicBezTo>
                    <a:pt x="171" y="8"/>
                    <a:pt x="171" y="8"/>
                    <a:pt x="171" y="8"/>
                  </a:cubicBezTo>
                  <a:cubicBezTo>
                    <a:pt x="173" y="7"/>
                    <a:pt x="173" y="7"/>
                    <a:pt x="173" y="7"/>
                  </a:cubicBezTo>
                  <a:cubicBezTo>
                    <a:pt x="173" y="7"/>
                    <a:pt x="173" y="7"/>
                    <a:pt x="173" y="7"/>
                  </a:cubicBezTo>
                  <a:cubicBezTo>
                    <a:pt x="172" y="3"/>
                    <a:pt x="172" y="3"/>
                    <a:pt x="172" y="3"/>
                  </a:cubicBezTo>
                  <a:cubicBezTo>
                    <a:pt x="154" y="11"/>
                    <a:pt x="154" y="11"/>
                    <a:pt x="154" y="11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2" y="49"/>
                    <a:pt x="172" y="49"/>
                    <a:pt x="172" y="49"/>
                  </a:cubicBezTo>
                  <a:cubicBezTo>
                    <a:pt x="171" y="49"/>
                    <a:pt x="170" y="50"/>
                    <a:pt x="169" y="51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58" y="61"/>
                    <a:pt x="158" y="61"/>
                    <a:pt x="158" y="61"/>
                  </a:cubicBezTo>
                  <a:cubicBezTo>
                    <a:pt x="157" y="62"/>
                    <a:pt x="157" y="63"/>
                    <a:pt x="156" y="64"/>
                  </a:cubicBezTo>
                  <a:cubicBezTo>
                    <a:pt x="122" y="51"/>
                    <a:pt x="122" y="51"/>
                    <a:pt x="122" y="51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4"/>
                    <a:pt x="116" y="64"/>
                    <a:pt x="116" y="64"/>
                  </a:cubicBezTo>
                  <a:cubicBezTo>
                    <a:pt x="150" y="78"/>
                    <a:pt x="150" y="78"/>
                    <a:pt x="150" y="78"/>
                  </a:cubicBezTo>
                  <a:cubicBezTo>
                    <a:pt x="150" y="79"/>
                    <a:pt x="149" y="81"/>
                    <a:pt x="149" y="82"/>
                  </a:cubicBezTo>
                  <a:cubicBezTo>
                    <a:pt x="110" y="82"/>
                    <a:pt x="110" y="82"/>
                    <a:pt x="110" y="82"/>
                  </a:cubicBezTo>
                  <a:cubicBezTo>
                    <a:pt x="110" y="80"/>
                    <a:pt x="110" y="80"/>
                    <a:pt x="110" y="80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68" y="80"/>
                    <a:pt x="68" y="80"/>
                    <a:pt x="67" y="80"/>
                  </a:cubicBezTo>
                  <a:cubicBezTo>
                    <a:pt x="63" y="80"/>
                    <a:pt x="59" y="84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9" y="266"/>
                    <a:pt x="59" y="266"/>
                    <a:pt x="59" y="266"/>
                  </a:cubicBezTo>
                  <a:cubicBezTo>
                    <a:pt x="59" y="266"/>
                    <a:pt x="59" y="266"/>
                    <a:pt x="59" y="266"/>
                  </a:cubicBezTo>
                  <a:cubicBezTo>
                    <a:pt x="59" y="277"/>
                    <a:pt x="59" y="277"/>
                    <a:pt x="59" y="277"/>
                  </a:cubicBezTo>
                  <a:cubicBezTo>
                    <a:pt x="59" y="277"/>
                    <a:pt x="59" y="277"/>
                    <a:pt x="59" y="277"/>
                  </a:cubicBezTo>
                  <a:cubicBezTo>
                    <a:pt x="59" y="282"/>
                    <a:pt x="63" y="286"/>
                    <a:pt x="67" y="286"/>
                  </a:cubicBezTo>
                  <a:cubicBezTo>
                    <a:pt x="68" y="286"/>
                    <a:pt x="68" y="286"/>
                    <a:pt x="68" y="286"/>
                  </a:cubicBezTo>
                  <a:cubicBezTo>
                    <a:pt x="108" y="286"/>
                    <a:pt x="108" y="286"/>
                    <a:pt x="108" y="286"/>
                  </a:cubicBezTo>
                  <a:cubicBezTo>
                    <a:pt x="108" y="286"/>
                    <a:pt x="108" y="286"/>
                    <a:pt x="108" y="286"/>
                  </a:cubicBezTo>
                  <a:cubicBezTo>
                    <a:pt x="185" y="286"/>
                    <a:pt x="185" y="286"/>
                    <a:pt x="185" y="286"/>
                  </a:cubicBezTo>
                  <a:cubicBezTo>
                    <a:pt x="185" y="286"/>
                    <a:pt x="185" y="286"/>
                    <a:pt x="185" y="286"/>
                  </a:cubicBezTo>
                  <a:cubicBezTo>
                    <a:pt x="187" y="286"/>
                    <a:pt x="187" y="286"/>
                    <a:pt x="187" y="286"/>
                  </a:cubicBezTo>
                  <a:cubicBezTo>
                    <a:pt x="187" y="307"/>
                    <a:pt x="187" y="307"/>
                    <a:pt x="187" y="307"/>
                  </a:cubicBezTo>
                  <a:cubicBezTo>
                    <a:pt x="185" y="307"/>
                    <a:pt x="185" y="307"/>
                    <a:pt x="185" y="307"/>
                  </a:cubicBezTo>
                  <a:cubicBezTo>
                    <a:pt x="185" y="307"/>
                    <a:pt x="185" y="307"/>
                    <a:pt x="185" y="307"/>
                  </a:cubicBezTo>
                  <a:cubicBezTo>
                    <a:pt x="153" y="307"/>
                    <a:pt x="153" y="307"/>
                    <a:pt x="153" y="307"/>
                  </a:cubicBezTo>
                  <a:cubicBezTo>
                    <a:pt x="153" y="307"/>
                    <a:pt x="153" y="307"/>
                    <a:pt x="153" y="307"/>
                  </a:cubicBezTo>
                  <a:cubicBezTo>
                    <a:pt x="148" y="307"/>
                    <a:pt x="145" y="310"/>
                    <a:pt x="145" y="315"/>
                  </a:cubicBezTo>
                  <a:cubicBezTo>
                    <a:pt x="145" y="315"/>
                    <a:pt x="145" y="315"/>
                    <a:pt x="145" y="315"/>
                  </a:cubicBezTo>
                  <a:cubicBezTo>
                    <a:pt x="145" y="326"/>
                    <a:pt x="145" y="326"/>
                    <a:pt x="145" y="326"/>
                  </a:cubicBezTo>
                  <a:cubicBezTo>
                    <a:pt x="145" y="326"/>
                    <a:pt x="145" y="326"/>
                    <a:pt x="145" y="326"/>
                  </a:cubicBezTo>
                  <a:cubicBezTo>
                    <a:pt x="145" y="351"/>
                    <a:pt x="145" y="351"/>
                    <a:pt x="145" y="351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87" y="400"/>
                    <a:pt x="87" y="400"/>
                    <a:pt x="87" y="400"/>
                  </a:cubicBezTo>
                  <a:cubicBezTo>
                    <a:pt x="103" y="418"/>
                    <a:pt x="103" y="418"/>
                    <a:pt x="103" y="418"/>
                  </a:cubicBezTo>
                  <a:cubicBezTo>
                    <a:pt x="103" y="451"/>
                    <a:pt x="103" y="451"/>
                    <a:pt x="103" y="451"/>
                  </a:cubicBezTo>
                  <a:cubicBezTo>
                    <a:pt x="122" y="459"/>
                    <a:pt x="122" y="459"/>
                    <a:pt x="122" y="459"/>
                  </a:cubicBezTo>
                  <a:cubicBezTo>
                    <a:pt x="122" y="505"/>
                    <a:pt x="122" y="505"/>
                    <a:pt x="122" y="505"/>
                  </a:cubicBezTo>
                  <a:cubicBezTo>
                    <a:pt x="38" y="520"/>
                    <a:pt x="7" y="539"/>
                    <a:pt x="4" y="540"/>
                  </a:cubicBezTo>
                  <a:cubicBezTo>
                    <a:pt x="0" y="540"/>
                    <a:pt x="19" y="543"/>
                    <a:pt x="46" y="556"/>
                  </a:cubicBezTo>
                  <a:cubicBezTo>
                    <a:pt x="80" y="572"/>
                    <a:pt x="76" y="581"/>
                    <a:pt x="76" y="581"/>
                  </a:cubicBezTo>
                  <a:cubicBezTo>
                    <a:pt x="76" y="581"/>
                    <a:pt x="135" y="543"/>
                    <a:pt x="263" y="520"/>
                  </a:cubicBezTo>
                  <a:cubicBezTo>
                    <a:pt x="330" y="508"/>
                    <a:pt x="451" y="503"/>
                    <a:pt x="495" y="512"/>
                  </a:cubicBezTo>
                  <a:cubicBezTo>
                    <a:pt x="495" y="512"/>
                    <a:pt x="461" y="504"/>
                    <a:pt x="413" y="4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53">
              <a:extLst>
                <a:ext uri="{FF2B5EF4-FFF2-40B4-BE49-F238E27FC236}">
                  <a16:creationId xmlns:a16="http://schemas.microsoft.com/office/drawing/2014/main" id="{CC5E87EE-A223-4776-97FA-680101AB21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4858" y="3977648"/>
              <a:ext cx="1793875" cy="1787526"/>
            </a:xfrm>
            <a:custGeom>
              <a:avLst/>
              <a:gdLst>
                <a:gd name="T0" fmla="*/ 484 w 968"/>
                <a:gd name="T1" fmla="*/ 953 h 967"/>
                <a:gd name="T2" fmla="*/ 14 w 968"/>
                <a:gd name="T3" fmla="*/ 482 h 967"/>
                <a:gd name="T4" fmla="*/ 484 w 968"/>
                <a:gd name="T5" fmla="*/ 12 h 967"/>
                <a:gd name="T6" fmla="*/ 954 w 968"/>
                <a:gd name="T7" fmla="*/ 482 h 967"/>
                <a:gd name="T8" fmla="*/ 484 w 968"/>
                <a:gd name="T9" fmla="*/ 953 h 967"/>
                <a:gd name="T10" fmla="*/ 484 w 968"/>
                <a:gd name="T11" fmla="*/ 0 h 967"/>
                <a:gd name="T12" fmla="*/ 0 w 968"/>
                <a:gd name="T13" fmla="*/ 483 h 967"/>
                <a:gd name="T14" fmla="*/ 484 w 968"/>
                <a:gd name="T15" fmla="*/ 967 h 967"/>
                <a:gd name="T16" fmla="*/ 968 w 968"/>
                <a:gd name="T17" fmla="*/ 483 h 967"/>
                <a:gd name="T18" fmla="*/ 484 w 968"/>
                <a:gd name="T19" fmla="*/ 0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8" h="967">
                  <a:moveTo>
                    <a:pt x="484" y="953"/>
                  </a:moveTo>
                  <a:cubicBezTo>
                    <a:pt x="224" y="953"/>
                    <a:pt x="14" y="742"/>
                    <a:pt x="14" y="482"/>
                  </a:cubicBezTo>
                  <a:cubicBezTo>
                    <a:pt x="14" y="223"/>
                    <a:pt x="224" y="12"/>
                    <a:pt x="484" y="12"/>
                  </a:cubicBezTo>
                  <a:cubicBezTo>
                    <a:pt x="744" y="12"/>
                    <a:pt x="954" y="223"/>
                    <a:pt x="954" y="482"/>
                  </a:cubicBezTo>
                  <a:cubicBezTo>
                    <a:pt x="954" y="742"/>
                    <a:pt x="744" y="953"/>
                    <a:pt x="484" y="953"/>
                  </a:cubicBezTo>
                  <a:close/>
                  <a:moveTo>
                    <a:pt x="484" y="0"/>
                  </a:moveTo>
                  <a:cubicBezTo>
                    <a:pt x="217" y="0"/>
                    <a:pt x="0" y="216"/>
                    <a:pt x="0" y="483"/>
                  </a:cubicBezTo>
                  <a:cubicBezTo>
                    <a:pt x="0" y="750"/>
                    <a:pt x="217" y="967"/>
                    <a:pt x="484" y="967"/>
                  </a:cubicBezTo>
                  <a:cubicBezTo>
                    <a:pt x="751" y="967"/>
                    <a:pt x="968" y="750"/>
                    <a:pt x="968" y="483"/>
                  </a:cubicBezTo>
                  <a:cubicBezTo>
                    <a:pt x="968" y="216"/>
                    <a:pt x="751" y="0"/>
                    <a:pt x="48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54">
              <a:extLst>
                <a:ext uri="{FF2B5EF4-FFF2-40B4-BE49-F238E27FC236}">
                  <a16:creationId xmlns:a16="http://schemas.microsoft.com/office/drawing/2014/main" id="{AA1BD646-AD69-4E37-AAC4-EEC540BF9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058" y="4552323"/>
              <a:ext cx="65088" cy="60325"/>
            </a:xfrm>
            <a:custGeom>
              <a:avLst/>
              <a:gdLst>
                <a:gd name="T0" fmla="*/ 23 w 35"/>
                <a:gd name="T1" fmla="*/ 3 h 32"/>
                <a:gd name="T2" fmla="*/ 10 w 35"/>
                <a:gd name="T3" fmla="*/ 1 h 32"/>
                <a:gd name="T4" fmla="*/ 2 w 35"/>
                <a:gd name="T5" fmla="*/ 9 h 32"/>
                <a:gd name="T6" fmla="*/ 1 w 35"/>
                <a:gd name="T7" fmla="*/ 20 h 32"/>
                <a:gd name="T8" fmla="*/ 11 w 35"/>
                <a:gd name="T9" fmla="*/ 29 h 32"/>
                <a:gd name="T10" fmla="*/ 25 w 35"/>
                <a:gd name="T11" fmla="*/ 31 h 32"/>
                <a:gd name="T12" fmla="*/ 33 w 35"/>
                <a:gd name="T13" fmla="*/ 23 h 32"/>
                <a:gd name="T14" fmla="*/ 33 w 35"/>
                <a:gd name="T15" fmla="*/ 12 h 32"/>
                <a:gd name="T16" fmla="*/ 23 w 35"/>
                <a:gd name="T1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32">
                  <a:moveTo>
                    <a:pt x="23" y="3"/>
                  </a:moveTo>
                  <a:cubicBezTo>
                    <a:pt x="18" y="0"/>
                    <a:pt x="13" y="0"/>
                    <a:pt x="10" y="1"/>
                  </a:cubicBezTo>
                  <a:cubicBezTo>
                    <a:pt x="6" y="2"/>
                    <a:pt x="3" y="5"/>
                    <a:pt x="2" y="9"/>
                  </a:cubicBezTo>
                  <a:cubicBezTo>
                    <a:pt x="0" y="13"/>
                    <a:pt x="0" y="17"/>
                    <a:pt x="1" y="20"/>
                  </a:cubicBezTo>
                  <a:cubicBezTo>
                    <a:pt x="3" y="24"/>
                    <a:pt x="6" y="27"/>
                    <a:pt x="11" y="29"/>
                  </a:cubicBezTo>
                  <a:cubicBezTo>
                    <a:pt x="16" y="31"/>
                    <a:pt x="21" y="32"/>
                    <a:pt x="25" y="31"/>
                  </a:cubicBezTo>
                  <a:cubicBezTo>
                    <a:pt x="28" y="29"/>
                    <a:pt x="31" y="27"/>
                    <a:pt x="33" y="23"/>
                  </a:cubicBezTo>
                  <a:cubicBezTo>
                    <a:pt x="35" y="19"/>
                    <a:pt x="35" y="15"/>
                    <a:pt x="33" y="12"/>
                  </a:cubicBezTo>
                  <a:cubicBezTo>
                    <a:pt x="32" y="8"/>
                    <a:pt x="28" y="5"/>
                    <a:pt x="2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55">
              <a:extLst>
                <a:ext uri="{FF2B5EF4-FFF2-40B4-BE49-F238E27FC236}">
                  <a16:creationId xmlns:a16="http://schemas.microsoft.com/office/drawing/2014/main" id="{9B01B03D-283E-4353-B117-5BD2E6498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145" y="5347661"/>
              <a:ext cx="41275" cy="74613"/>
            </a:xfrm>
            <a:custGeom>
              <a:avLst/>
              <a:gdLst>
                <a:gd name="T0" fmla="*/ 22 w 22"/>
                <a:gd name="T1" fmla="*/ 0 h 40"/>
                <a:gd name="T2" fmla="*/ 22 w 22"/>
                <a:gd name="T3" fmla="*/ 40 h 40"/>
                <a:gd name="T4" fmla="*/ 11 w 22"/>
                <a:gd name="T5" fmla="*/ 40 h 40"/>
                <a:gd name="T6" fmla="*/ 11 w 22"/>
                <a:gd name="T7" fmla="*/ 14 h 40"/>
                <a:gd name="T8" fmla="*/ 6 w 22"/>
                <a:gd name="T9" fmla="*/ 17 h 40"/>
                <a:gd name="T10" fmla="*/ 0 w 22"/>
                <a:gd name="T11" fmla="*/ 19 h 40"/>
                <a:gd name="T12" fmla="*/ 0 w 22"/>
                <a:gd name="T13" fmla="*/ 11 h 40"/>
                <a:gd name="T14" fmla="*/ 8 w 22"/>
                <a:gd name="T15" fmla="*/ 6 h 40"/>
                <a:gd name="T16" fmla="*/ 13 w 22"/>
                <a:gd name="T17" fmla="*/ 0 h 40"/>
                <a:gd name="T18" fmla="*/ 22 w 22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40">
                  <a:moveTo>
                    <a:pt x="22" y="0"/>
                  </a:moveTo>
                  <a:cubicBezTo>
                    <a:pt x="22" y="40"/>
                    <a:pt x="22" y="40"/>
                    <a:pt x="22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9" y="15"/>
                    <a:pt x="8" y="16"/>
                    <a:pt x="6" y="17"/>
                  </a:cubicBezTo>
                  <a:cubicBezTo>
                    <a:pt x="4" y="18"/>
                    <a:pt x="2" y="19"/>
                    <a:pt x="0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0"/>
                    <a:pt x="6" y="8"/>
                    <a:pt x="8" y="6"/>
                  </a:cubicBezTo>
                  <a:cubicBezTo>
                    <a:pt x="10" y="5"/>
                    <a:pt x="12" y="3"/>
                    <a:pt x="13" y="0"/>
                  </a:cubicBez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56">
              <a:extLst>
                <a:ext uri="{FF2B5EF4-FFF2-40B4-BE49-F238E27FC236}">
                  <a16:creationId xmlns:a16="http://schemas.microsoft.com/office/drawing/2014/main" id="{E3DC6487-2035-4D8C-ABD9-65015B932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9883" y="5347661"/>
              <a:ext cx="60325" cy="74613"/>
            </a:xfrm>
            <a:custGeom>
              <a:avLst/>
              <a:gdLst>
                <a:gd name="T0" fmla="*/ 21 w 32"/>
                <a:gd name="T1" fmla="*/ 14 h 40"/>
                <a:gd name="T2" fmla="*/ 19 w 32"/>
                <a:gd name="T3" fmla="*/ 9 h 40"/>
                <a:gd name="T4" fmla="*/ 15 w 32"/>
                <a:gd name="T5" fmla="*/ 7 h 40"/>
                <a:gd name="T6" fmla="*/ 12 w 32"/>
                <a:gd name="T7" fmla="*/ 9 h 40"/>
                <a:gd name="T8" fmla="*/ 10 w 32"/>
                <a:gd name="T9" fmla="*/ 13 h 40"/>
                <a:gd name="T10" fmla="*/ 12 w 32"/>
                <a:gd name="T11" fmla="*/ 18 h 40"/>
                <a:gd name="T12" fmla="*/ 15 w 32"/>
                <a:gd name="T13" fmla="*/ 20 h 40"/>
                <a:gd name="T14" fmla="*/ 19 w 32"/>
                <a:gd name="T15" fmla="*/ 18 h 40"/>
                <a:gd name="T16" fmla="*/ 21 w 32"/>
                <a:gd name="T17" fmla="*/ 14 h 40"/>
                <a:gd name="T18" fmla="*/ 1 w 32"/>
                <a:gd name="T19" fmla="*/ 31 h 40"/>
                <a:gd name="T20" fmla="*/ 12 w 32"/>
                <a:gd name="T21" fmla="*/ 30 h 40"/>
                <a:gd name="T22" fmla="*/ 13 w 32"/>
                <a:gd name="T23" fmla="*/ 33 h 40"/>
                <a:gd name="T24" fmla="*/ 15 w 32"/>
                <a:gd name="T25" fmla="*/ 34 h 40"/>
                <a:gd name="T26" fmla="*/ 20 w 32"/>
                <a:gd name="T27" fmla="*/ 31 h 40"/>
                <a:gd name="T28" fmla="*/ 21 w 32"/>
                <a:gd name="T29" fmla="*/ 23 h 40"/>
                <a:gd name="T30" fmla="*/ 17 w 32"/>
                <a:gd name="T31" fmla="*/ 26 h 40"/>
                <a:gd name="T32" fmla="*/ 13 w 32"/>
                <a:gd name="T33" fmla="*/ 27 h 40"/>
                <a:gd name="T34" fmla="*/ 4 w 32"/>
                <a:gd name="T35" fmla="*/ 23 h 40"/>
                <a:gd name="T36" fmla="*/ 0 w 32"/>
                <a:gd name="T37" fmla="*/ 14 h 40"/>
                <a:gd name="T38" fmla="*/ 2 w 32"/>
                <a:gd name="T39" fmla="*/ 7 h 40"/>
                <a:gd name="T40" fmla="*/ 7 w 32"/>
                <a:gd name="T41" fmla="*/ 2 h 40"/>
                <a:gd name="T42" fmla="*/ 15 w 32"/>
                <a:gd name="T43" fmla="*/ 0 h 40"/>
                <a:gd name="T44" fmla="*/ 24 w 32"/>
                <a:gd name="T45" fmla="*/ 2 h 40"/>
                <a:gd name="T46" fmla="*/ 30 w 32"/>
                <a:gd name="T47" fmla="*/ 9 h 40"/>
                <a:gd name="T48" fmla="*/ 32 w 32"/>
                <a:gd name="T49" fmla="*/ 20 h 40"/>
                <a:gd name="T50" fmla="*/ 28 w 32"/>
                <a:gd name="T51" fmla="*/ 35 h 40"/>
                <a:gd name="T52" fmla="*/ 15 w 32"/>
                <a:gd name="T53" fmla="*/ 40 h 40"/>
                <a:gd name="T54" fmla="*/ 8 w 32"/>
                <a:gd name="T55" fmla="*/ 39 h 40"/>
                <a:gd name="T56" fmla="*/ 4 w 32"/>
                <a:gd name="T57" fmla="*/ 36 h 40"/>
                <a:gd name="T58" fmla="*/ 1 w 32"/>
                <a:gd name="T59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" h="40">
                  <a:moveTo>
                    <a:pt x="21" y="14"/>
                  </a:moveTo>
                  <a:cubicBezTo>
                    <a:pt x="21" y="12"/>
                    <a:pt x="20" y="10"/>
                    <a:pt x="19" y="9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1" y="10"/>
                    <a:pt x="10" y="11"/>
                    <a:pt x="10" y="13"/>
                  </a:cubicBezTo>
                  <a:cubicBezTo>
                    <a:pt x="10" y="16"/>
                    <a:pt x="11" y="17"/>
                    <a:pt x="12" y="18"/>
                  </a:cubicBezTo>
                  <a:cubicBezTo>
                    <a:pt x="13" y="20"/>
                    <a:pt x="14" y="20"/>
                    <a:pt x="15" y="20"/>
                  </a:cubicBezTo>
                  <a:cubicBezTo>
                    <a:pt x="17" y="20"/>
                    <a:pt x="18" y="20"/>
                    <a:pt x="19" y="18"/>
                  </a:cubicBezTo>
                  <a:cubicBezTo>
                    <a:pt x="20" y="17"/>
                    <a:pt x="21" y="16"/>
                    <a:pt x="21" y="14"/>
                  </a:cubicBezTo>
                  <a:close/>
                  <a:moveTo>
                    <a:pt x="1" y="31"/>
                  </a:moveTo>
                  <a:cubicBezTo>
                    <a:pt x="12" y="30"/>
                    <a:pt x="12" y="30"/>
                    <a:pt x="12" y="30"/>
                  </a:cubicBezTo>
                  <a:cubicBezTo>
                    <a:pt x="12" y="31"/>
                    <a:pt x="12" y="32"/>
                    <a:pt x="13" y="33"/>
                  </a:cubicBezTo>
                  <a:cubicBezTo>
                    <a:pt x="14" y="33"/>
                    <a:pt x="15" y="34"/>
                    <a:pt x="15" y="34"/>
                  </a:cubicBezTo>
                  <a:cubicBezTo>
                    <a:pt x="17" y="34"/>
                    <a:pt x="19" y="33"/>
                    <a:pt x="20" y="31"/>
                  </a:cubicBezTo>
                  <a:cubicBezTo>
                    <a:pt x="20" y="30"/>
                    <a:pt x="21" y="27"/>
                    <a:pt x="21" y="23"/>
                  </a:cubicBezTo>
                  <a:cubicBezTo>
                    <a:pt x="20" y="24"/>
                    <a:pt x="19" y="25"/>
                    <a:pt x="17" y="26"/>
                  </a:cubicBezTo>
                  <a:cubicBezTo>
                    <a:pt x="16" y="26"/>
                    <a:pt x="14" y="27"/>
                    <a:pt x="13" y="27"/>
                  </a:cubicBezTo>
                  <a:cubicBezTo>
                    <a:pt x="9" y="27"/>
                    <a:pt x="6" y="26"/>
                    <a:pt x="4" y="23"/>
                  </a:cubicBezTo>
                  <a:cubicBezTo>
                    <a:pt x="1" y="21"/>
                    <a:pt x="0" y="17"/>
                    <a:pt x="0" y="14"/>
                  </a:cubicBezTo>
                  <a:cubicBezTo>
                    <a:pt x="0" y="11"/>
                    <a:pt x="1" y="9"/>
                    <a:pt x="2" y="7"/>
                  </a:cubicBezTo>
                  <a:cubicBezTo>
                    <a:pt x="3" y="5"/>
                    <a:pt x="5" y="3"/>
                    <a:pt x="7" y="2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7" y="4"/>
                    <a:pt x="29" y="6"/>
                    <a:pt x="30" y="9"/>
                  </a:cubicBezTo>
                  <a:cubicBezTo>
                    <a:pt x="31" y="11"/>
                    <a:pt x="32" y="15"/>
                    <a:pt x="32" y="20"/>
                  </a:cubicBezTo>
                  <a:cubicBezTo>
                    <a:pt x="32" y="27"/>
                    <a:pt x="31" y="32"/>
                    <a:pt x="28" y="35"/>
                  </a:cubicBezTo>
                  <a:cubicBezTo>
                    <a:pt x="25" y="39"/>
                    <a:pt x="21" y="40"/>
                    <a:pt x="15" y="40"/>
                  </a:cubicBezTo>
                  <a:cubicBezTo>
                    <a:pt x="12" y="40"/>
                    <a:pt x="10" y="40"/>
                    <a:pt x="8" y="39"/>
                  </a:cubicBezTo>
                  <a:cubicBezTo>
                    <a:pt x="6" y="38"/>
                    <a:pt x="5" y="37"/>
                    <a:pt x="4" y="36"/>
                  </a:cubicBezTo>
                  <a:cubicBezTo>
                    <a:pt x="2" y="35"/>
                    <a:pt x="2" y="33"/>
                    <a:pt x="1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57">
              <a:extLst>
                <a:ext uri="{FF2B5EF4-FFF2-40B4-BE49-F238E27FC236}">
                  <a16:creationId xmlns:a16="http://schemas.microsoft.com/office/drawing/2014/main" id="{BD4D8A61-5B58-4064-98B6-EA0590331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4970" y="5349248"/>
              <a:ext cx="60325" cy="73025"/>
            </a:xfrm>
            <a:custGeom>
              <a:avLst/>
              <a:gdLst>
                <a:gd name="T0" fmla="*/ 4 w 32"/>
                <a:gd name="T1" fmla="*/ 0 h 39"/>
                <a:gd name="T2" fmla="*/ 30 w 32"/>
                <a:gd name="T3" fmla="*/ 0 h 39"/>
                <a:gd name="T4" fmla="*/ 30 w 32"/>
                <a:gd name="T5" fmla="*/ 8 h 39"/>
                <a:gd name="T6" fmla="*/ 13 w 32"/>
                <a:gd name="T7" fmla="*/ 8 h 39"/>
                <a:gd name="T8" fmla="*/ 12 w 32"/>
                <a:gd name="T9" fmla="*/ 14 h 39"/>
                <a:gd name="T10" fmla="*/ 15 w 32"/>
                <a:gd name="T11" fmla="*/ 13 h 39"/>
                <a:gd name="T12" fmla="*/ 19 w 32"/>
                <a:gd name="T13" fmla="*/ 13 h 39"/>
                <a:gd name="T14" fmla="*/ 28 w 32"/>
                <a:gd name="T15" fmla="*/ 16 h 39"/>
                <a:gd name="T16" fmla="*/ 32 w 32"/>
                <a:gd name="T17" fmla="*/ 25 h 39"/>
                <a:gd name="T18" fmla="*/ 30 w 32"/>
                <a:gd name="T19" fmla="*/ 32 h 39"/>
                <a:gd name="T20" fmla="*/ 25 w 32"/>
                <a:gd name="T21" fmla="*/ 37 h 39"/>
                <a:gd name="T22" fmla="*/ 16 w 32"/>
                <a:gd name="T23" fmla="*/ 39 h 39"/>
                <a:gd name="T24" fmla="*/ 9 w 32"/>
                <a:gd name="T25" fmla="*/ 39 h 39"/>
                <a:gd name="T26" fmla="*/ 5 w 32"/>
                <a:gd name="T27" fmla="*/ 36 h 39"/>
                <a:gd name="T28" fmla="*/ 2 w 32"/>
                <a:gd name="T29" fmla="*/ 33 h 39"/>
                <a:gd name="T30" fmla="*/ 0 w 32"/>
                <a:gd name="T31" fmla="*/ 29 h 39"/>
                <a:gd name="T32" fmla="*/ 11 w 32"/>
                <a:gd name="T33" fmla="*/ 27 h 39"/>
                <a:gd name="T34" fmla="*/ 12 w 32"/>
                <a:gd name="T35" fmla="*/ 31 h 39"/>
                <a:gd name="T36" fmla="*/ 16 w 32"/>
                <a:gd name="T37" fmla="*/ 33 h 39"/>
                <a:gd name="T38" fmla="*/ 20 w 32"/>
                <a:gd name="T39" fmla="*/ 31 h 39"/>
                <a:gd name="T40" fmla="*/ 21 w 32"/>
                <a:gd name="T41" fmla="*/ 26 h 39"/>
                <a:gd name="T42" fmla="*/ 20 w 32"/>
                <a:gd name="T43" fmla="*/ 21 h 39"/>
                <a:gd name="T44" fmla="*/ 16 w 32"/>
                <a:gd name="T45" fmla="*/ 19 h 39"/>
                <a:gd name="T46" fmla="*/ 13 w 32"/>
                <a:gd name="T47" fmla="*/ 20 h 39"/>
                <a:gd name="T48" fmla="*/ 10 w 32"/>
                <a:gd name="T49" fmla="*/ 22 h 39"/>
                <a:gd name="T50" fmla="*/ 1 w 32"/>
                <a:gd name="T51" fmla="*/ 21 h 39"/>
                <a:gd name="T52" fmla="*/ 4 w 32"/>
                <a:gd name="T5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39">
                  <a:moveTo>
                    <a:pt x="4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4" y="13"/>
                    <a:pt x="15" y="13"/>
                  </a:cubicBezTo>
                  <a:cubicBezTo>
                    <a:pt x="17" y="13"/>
                    <a:pt x="18" y="13"/>
                    <a:pt x="19" y="13"/>
                  </a:cubicBezTo>
                  <a:cubicBezTo>
                    <a:pt x="23" y="13"/>
                    <a:pt x="26" y="14"/>
                    <a:pt x="28" y="16"/>
                  </a:cubicBezTo>
                  <a:cubicBezTo>
                    <a:pt x="31" y="18"/>
                    <a:pt x="32" y="21"/>
                    <a:pt x="32" y="25"/>
                  </a:cubicBezTo>
                  <a:cubicBezTo>
                    <a:pt x="32" y="27"/>
                    <a:pt x="31" y="30"/>
                    <a:pt x="30" y="32"/>
                  </a:cubicBezTo>
                  <a:cubicBezTo>
                    <a:pt x="29" y="35"/>
                    <a:pt x="27" y="36"/>
                    <a:pt x="25" y="37"/>
                  </a:cubicBezTo>
                  <a:cubicBezTo>
                    <a:pt x="22" y="39"/>
                    <a:pt x="20" y="39"/>
                    <a:pt x="16" y="39"/>
                  </a:cubicBezTo>
                  <a:cubicBezTo>
                    <a:pt x="13" y="39"/>
                    <a:pt x="11" y="39"/>
                    <a:pt x="9" y="39"/>
                  </a:cubicBezTo>
                  <a:cubicBezTo>
                    <a:pt x="8" y="38"/>
                    <a:pt x="6" y="37"/>
                    <a:pt x="5" y="36"/>
                  </a:cubicBezTo>
                  <a:cubicBezTo>
                    <a:pt x="4" y="35"/>
                    <a:pt x="2" y="34"/>
                    <a:pt x="2" y="33"/>
                  </a:cubicBezTo>
                  <a:cubicBezTo>
                    <a:pt x="1" y="32"/>
                    <a:pt x="0" y="30"/>
                    <a:pt x="0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9"/>
                    <a:pt x="11" y="30"/>
                    <a:pt x="12" y="31"/>
                  </a:cubicBezTo>
                  <a:cubicBezTo>
                    <a:pt x="13" y="32"/>
                    <a:pt x="15" y="33"/>
                    <a:pt x="16" y="33"/>
                  </a:cubicBezTo>
                  <a:cubicBezTo>
                    <a:pt x="17" y="33"/>
                    <a:pt x="19" y="32"/>
                    <a:pt x="20" y="31"/>
                  </a:cubicBezTo>
                  <a:cubicBezTo>
                    <a:pt x="21" y="30"/>
                    <a:pt x="21" y="28"/>
                    <a:pt x="21" y="26"/>
                  </a:cubicBezTo>
                  <a:cubicBezTo>
                    <a:pt x="21" y="24"/>
                    <a:pt x="21" y="22"/>
                    <a:pt x="20" y="21"/>
                  </a:cubicBezTo>
                  <a:cubicBezTo>
                    <a:pt x="19" y="20"/>
                    <a:pt x="17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2" y="20"/>
                    <a:pt x="11" y="21"/>
                    <a:pt x="10" y="22"/>
                  </a:cubicBezTo>
                  <a:cubicBezTo>
                    <a:pt x="1" y="21"/>
                    <a:pt x="1" y="21"/>
                    <a:pt x="1" y="21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58">
              <a:extLst>
                <a:ext uri="{FF2B5EF4-FFF2-40B4-BE49-F238E27FC236}">
                  <a16:creationId xmlns:a16="http://schemas.microsoft.com/office/drawing/2014/main" id="{DCDD3F66-1FE9-4C27-BA82-07FB09731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0058" y="5347661"/>
              <a:ext cx="57150" cy="74613"/>
            </a:xfrm>
            <a:custGeom>
              <a:avLst/>
              <a:gdLst>
                <a:gd name="T0" fmla="*/ 10 w 31"/>
                <a:gd name="T1" fmla="*/ 12 h 40"/>
                <a:gd name="T2" fmla="*/ 0 w 31"/>
                <a:gd name="T3" fmla="*/ 10 h 40"/>
                <a:gd name="T4" fmla="*/ 5 w 31"/>
                <a:gd name="T5" fmla="*/ 3 h 40"/>
                <a:gd name="T6" fmla="*/ 15 w 31"/>
                <a:gd name="T7" fmla="*/ 0 h 40"/>
                <a:gd name="T8" fmla="*/ 26 w 31"/>
                <a:gd name="T9" fmla="*/ 3 h 40"/>
                <a:gd name="T10" fmla="*/ 30 w 31"/>
                <a:gd name="T11" fmla="*/ 10 h 40"/>
                <a:gd name="T12" fmla="*/ 28 w 31"/>
                <a:gd name="T13" fmla="*/ 15 h 40"/>
                <a:gd name="T14" fmla="*/ 24 w 31"/>
                <a:gd name="T15" fmla="*/ 18 h 40"/>
                <a:gd name="T16" fmla="*/ 27 w 31"/>
                <a:gd name="T17" fmla="*/ 20 h 40"/>
                <a:gd name="T18" fmla="*/ 30 w 31"/>
                <a:gd name="T19" fmla="*/ 23 h 40"/>
                <a:gd name="T20" fmla="*/ 31 w 31"/>
                <a:gd name="T21" fmla="*/ 27 h 40"/>
                <a:gd name="T22" fmla="*/ 30 w 31"/>
                <a:gd name="T23" fmla="*/ 34 h 40"/>
                <a:gd name="T24" fmla="*/ 25 w 31"/>
                <a:gd name="T25" fmla="*/ 39 h 40"/>
                <a:gd name="T26" fmla="*/ 16 w 31"/>
                <a:gd name="T27" fmla="*/ 40 h 40"/>
                <a:gd name="T28" fmla="*/ 8 w 31"/>
                <a:gd name="T29" fmla="*/ 39 h 40"/>
                <a:gd name="T30" fmla="*/ 3 w 31"/>
                <a:gd name="T31" fmla="*/ 35 h 40"/>
                <a:gd name="T32" fmla="*/ 0 w 31"/>
                <a:gd name="T33" fmla="*/ 29 h 40"/>
                <a:gd name="T34" fmla="*/ 10 w 31"/>
                <a:gd name="T35" fmla="*/ 28 h 40"/>
                <a:gd name="T36" fmla="*/ 12 w 31"/>
                <a:gd name="T37" fmla="*/ 32 h 40"/>
                <a:gd name="T38" fmla="*/ 16 w 31"/>
                <a:gd name="T39" fmla="*/ 34 h 40"/>
                <a:gd name="T40" fmla="*/ 19 w 31"/>
                <a:gd name="T41" fmla="*/ 32 h 40"/>
                <a:gd name="T42" fmla="*/ 21 w 31"/>
                <a:gd name="T43" fmla="*/ 28 h 40"/>
                <a:gd name="T44" fmla="*/ 19 w 31"/>
                <a:gd name="T45" fmla="*/ 24 h 40"/>
                <a:gd name="T46" fmla="*/ 15 w 31"/>
                <a:gd name="T47" fmla="*/ 22 h 40"/>
                <a:gd name="T48" fmla="*/ 12 w 31"/>
                <a:gd name="T49" fmla="*/ 23 h 40"/>
                <a:gd name="T50" fmla="*/ 13 w 31"/>
                <a:gd name="T51" fmla="*/ 15 h 40"/>
                <a:gd name="T52" fmla="*/ 14 w 31"/>
                <a:gd name="T53" fmla="*/ 15 h 40"/>
                <a:gd name="T54" fmla="*/ 17 w 31"/>
                <a:gd name="T55" fmla="*/ 14 h 40"/>
                <a:gd name="T56" fmla="*/ 19 w 31"/>
                <a:gd name="T57" fmla="*/ 11 h 40"/>
                <a:gd name="T58" fmla="*/ 18 w 31"/>
                <a:gd name="T59" fmla="*/ 8 h 40"/>
                <a:gd name="T60" fmla="*/ 15 w 31"/>
                <a:gd name="T61" fmla="*/ 7 h 40"/>
                <a:gd name="T62" fmla="*/ 12 w 31"/>
                <a:gd name="T63" fmla="*/ 8 h 40"/>
                <a:gd name="T64" fmla="*/ 10 w 31"/>
                <a:gd name="T6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" h="40">
                  <a:moveTo>
                    <a:pt x="10" y="1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1" y="7"/>
                    <a:pt x="3" y="5"/>
                    <a:pt x="5" y="3"/>
                  </a:cubicBezTo>
                  <a:cubicBezTo>
                    <a:pt x="7" y="1"/>
                    <a:pt x="11" y="0"/>
                    <a:pt x="15" y="0"/>
                  </a:cubicBezTo>
                  <a:cubicBezTo>
                    <a:pt x="20" y="0"/>
                    <a:pt x="24" y="1"/>
                    <a:pt x="26" y="3"/>
                  </a:cubicBezTo>
                  <a:cubicBezTo>
                    <a:pt x="28" y="5"/>
                    <a:pt x="30" y="7"/>
                    <a:pt x="30" y="10"/>
                  </a:cubicBezTo>
                  <a:cubicBezTo>
                    <a:pt x="30" y="12"/>
                    <a:pt x="29" y="13"/>
                    <a:pt x="28" y="15"/>
                  </a:cubicBezTo>
                  <a:cubicBezTo>
                    <a:pt x="27" y="16"/>
                    <a:pt x="26" y="17"/>
                    <a:pt x="24" y="18"/>
                  </a:cubicBezTo>
                  <a:cubicBezTo>
                    <a:pt x="25" y="19"/>
                    <a:pt x="27" y="19"/>
                    <a:pt x="27" y="20"/>
                  </a:cubicBezTo>
                  <a:cubicBezTo>
                    <a:pt x="29" y="20"/>
                    <a:pt x="30" y="21"/>
                    <a:pt x="30" y="23"/>
                  </a:cubicBezTo>
                  <a:cubicBezTo>
                    <a:pt x="31" y="24"/>
                    <a:pt x="31" y="26"/>
                    <a:pt x="31" y="27"/>
                  </a:cubicBezTo>
                  <a:cubicBezTo>
                    <a:pt x="31" y="30"/>
                    <a:pt x="31" y="32"/>
                    <a:pt x="30" y="34"/>
                  </a:cubicBezTo>
                  <a:cubicBezTo>
                    <a:pt x="29" y="36"/>
                    <a:pt x="27" y="38"/>
                    <a:pt x="25" y="39"/>
                  </a:cubicBezTo>
                  <a:cubicBezTo>
                    <a:pt x="22" y="40"/>
                    <a:pt x="19" y="40"/>
                    <a:pt x="16" y="40"/>
                  </a:cubicBezTo>
                  <a:cubicBezTo>
                    <a:pt x="12" y="40"/>
                    <a:pt x="10" y="40"/>
                    <a:pt x="8" y="39"/>
                  </a:cubicBezTo>
                  <a:cubicBezTo>
                    <a:pt x="6" y="38"/>
                    <a:pt x="4" y="37"/>
                    <a:pt x="3" y="35"/>
                  </a:cubicBezTo>
                  <a:cubicBezTo>
                    <a:pt x="1" y="34"/>
                    <a:pt x="0" y="32"/>
                    <a:pt x="0" y="2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30"/>
                    <a:pt x="11" y="32"/>
                    <a:pt x="12" y="32"/>
                  </a:cubicBezTo>
                  <a:cubicBezTo>
                    <a:pt x="13" y="33"/>
                    <a:pt x="14" y="34"/>
                    <a:pt x="16" y="34"/>
                  </a:cubicBezTo>
                  <a:cubicBezTo>
                    <a:pt x="17" y="34"/>
                    <a:pt x="18" y="33"/>
                    <a:pt x="19" y="32"/>
                  </a:cubicBezTo>
                  <a:cubicBezTo>
                    <a:pt x="20" y="31"/>
                    <a:pt x="21" y="30"/>
                    <a:pt x="21" y="28"/>
                  </a:cubicBezTo>
                  <a:cubicBezTo>
                    <a:pt x="21" y="26"/>
                    <a:pt x="20" y="25"/>
                    <a:pt x="19" y="24"/>
                  </a:cubicBezTo>
                  <a:cubicBezTo>
                    <a:pt x="18" y="23"/>
                    <a:pt x="17" y="22"/>
                    <a:pt x="15" y="22"/>
                  </a:cubicBezTo>
                  <a:cubicBezTo>
                    <a:pt x="15" y="22"/>
                    <a:pt x="14" y="23"/>
                    <a:pt x="12" y="23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5" y="15"/>
                    <a:pt x="17" y="15"/>
                    <a:pt x="17" y="14"/>
                  </a:cubicBezTo>
                  <a:cubicBezTo>
                    <a:pt x="18" y="13"/>
                    <a:pt x="19" y="12"/>
                    <a:pt x="19" y="11"/>
                  </a:cubicBezTo>
                  <a:cubicBezTo>
                    <a:pt x="19" y="10"/>
                    <a:pt x="18" y="9"/>
                    <a:pt x="18" y="8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4" y="7"/>
                    <a:pt x="13" y="7"/>
                    <a:pt x="12" y="8"/>
                  </a:cubicBezTo>
                  <a:cubicBezTo>
                    <a:pt x="11" y="9"/>
                    <a:pt x="11" y="10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59">
              <a:extLst>
                <a:ext uri="{FF2B5EF4-FFF2-40B4-BE49-F238E27FC236}">
                  <a16:creationId xmlns:a16="http://schemas.microsoft.com/office/drawing/2014/main" id="{04F6FD11-E0D4-43B4-90C7-4A0E926EA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7933" y="5415923"/>
              <a:ext cx="17463" cy="9525"/>
            </a:xfrm>
            <a:custGeom>
              <a:avLst/>
              <a:gdLst>
                <a:gd name="T0" fmla="*/ 0 w 11"/>
                <a:gd name="T1" fmla="*/ 6 h 6"/>
                <a:gd name="T2" fmla="*/ 5 w 11"/>
                <a:gd name="T3" fmla="*/ 5 h 6"/>
                <a:gd name="T4" fmla="*/ 11 w 11"/>
                <a:gd name="T5" fmla="*/ 2 h 6"/>
                <a:gd name="T6" fmla="*/ 8 w 11"/>
                <a:gd name="T7" fmla="*/ 1 h 6"/>
                <a:gd name="T8" fmla="*/ 4 w 11"/>
                <a:gd name="T9" fmla="*/ 0 h 6"/>
                <a:gd name="T10" fmla="*/ 0 w 11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0" y="6"/>
                  </a:moveTo>
                  <a:lnTo>
                    <a:pt x="5" y="5"/>
                  </a:lnTo>
                  <a:lnTo>
                    <a:pt x="11" y="2"/>
                  </a:lnTo>
                  <a:lnTo>
                    <a:pt x="8" y="1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60">
              <a:extLst>
                <a:ext uri="{FF2B5EF4-FFF2-40B4-BE49-F238E27FC236}">
                  <a16:creationId xmlns:a16="http://schemas.microsoft.com/office/drawing/2014/main" id="{FE200AEE-D4A1-4E21-8F5C-297A49BDB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7945" y="4187198"/>
              <a:ext cx="44450" cy="34925"/>
            </a:xfrm>
            <a:custGeom>
              <a:avLst/>
              <a:gdLst>
                <a:gd name="T0" fmla="*/ 22 w 24"/>
                <a:gd name="T1" fmla="*/ 11 h 19"/>
                <a:gd name="T2" fmla="*/ 24 w 24"/>
                <a:gd name="T3" fmla="*/ 8 h 19"/>
                <a:gd name="T4" fmla="*/ 24 w 24"/>
                <a:gd name="T5" fmla="*/ 4 h 19"/>
                <a:gd name="T6" fmla="*/ 21 w 24"/>
                <a:gd name="T7" fmla="*/ 0 h 19"/>
                <a:gd name="T8" fmla="*/ 16 w 24"/>
                <a:gd name="T9" fmla="*/ 0 h 19"/>
                <a:gd name="T10" fmla="*/ 8 w 24"/>
                <a:gd name="T11" fmla="*/ 4 h 19"/>
                <a:gd name="T12" fmla="*/ 0 w 24"/>
                <a:gd name="T13" fmla="*/ 7 h 19"/>
                <a:gd name="T14" fmla="*/ 5 w 24"/>
                <a:gd name="T15" fmla="*/ 19 h 19"/>
                <a:gd name="T16" fmla="*/ 13 w 24"/>
                <a:gd name="T17" fmla="*/ 16 h 19"/>
                <a:gd name="T18" fmla="*/ 22 w 24"/>
                <a:gd name="T1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9">
                  <a:moveTo>
                    <a:pt x="22" y="11"/>
                  </a:moveTo>
                  <a:cubicBezTo>
                    <a:pt x="23" y="10"/>
                    <a:pt x="24" y="9"/>
                    <a:pt x="24" y="8"/>
                  </a:cubicBezTo>
                  <a:cubicBezTo>
                    <a:pt x="24" y="6"/>
                    <a:pt x="24" y="5"/>
                    <a:pt x="24" y="4"/>
                  </a:cubicBezTo>
                  <a:cubicBezTo>
                    <a:pt x="23" y="2"/>
                    <a:pt x="22" y="1"/>
                    <a:pt x="21" y="0"/>
                  </a:cubicBezTo>
                  <a:cubicBezTo>
                    <a:pt x="19" y="0"/>
                    <a:pt x="18" y="0"/>
                    <a:pt x="16" y="0"/>
                  </a:cubicBezTo>
                  <a:cubicBezTo>
                    <a:pt x="15" y="1"/>
                    <a:pt x="12" y="2"/>
                    <a:pt x="8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8" y="13"/>
                    <a:pt x="21" y="12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61">
              <a:extLst>
                <a:ext uri="{FF2B5EF4-FFF2-40B4-BE49-F238E27FC236}">
                  <a16:creationId xmlns:a16="http://schemas.microsoft.com/office/drawing/2014/main" id="{86159E54-4EC5-4D56-BDA2-17DF7A37A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7108" y="4461836"/>
              <a:ext cx="36513" cy="46038"/>
            </a:xfrm>
            <a:custGeom>
              <a:avLst/>
              <a:gdLst>
                <a:gd name="T0" fmla="*/ 10 w 20"/>
                <a:gd name="T1" fmla="*/ 23 h 25"/>
                <a:gd name="T2" fmla="*/ 13 w 20"/>
                <a:gd name="T3" fmla="*/ 25 h 25"/>
                <a:gd name="T4" fmla="*/ 17 w 20"/>
                <a:gd name="T5" fmla="*/ 24 h 25"/>
                <a:gd name="T6" fmla="*/ 20 w 20"/>
                <a:gd name="T7" fmla="*/ 20 h 25"/>
                <a:gd name="T8" fmla="*/ 20 w 20"/>
                <a:gd name="T9" fmla="*/ 15 h 25"/>
                <a:gd name="T10" fmla="*/ 15 w 20"/>
                <a:gd name="T11" fmla="*/ 8 h 25"/>
                <a:gd name="T12" fmla="*/ 11 w 20"/>
                <a:gd name="T13" fmla="*/ 0 h 25"/>
                <a:gd name="T14" fmla="*/ 0 w 20"/>
                <a:gd name="T15" fmla="*/ 7 h 25"/>
                <a:gd name="T16" fmla="*/ 4 w 20"/>
                <a:gd name="T17" fmla="*/ 14 h 25"/>
                <a:gd name="T18" fmla="*/ 10 w 20"/>
                <a:gd name="T19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5">
                  <a:moveTo>
                    <a:pt x="10" y="23"/>
                  </a:moveTo>
                  <a:cubicBezTo>
                    <a:pt x="11" y="24"/>
                    <a:pt x="12" y="24"/>
                    <a:pt x="13" y="25"/>
                  </a:cubicBezTo>
                  <a:cubicBezTo>
                    <a:pt x="15" y="25"/>
                    <a:pt x="16" y="24"/>
                    <a:pt x="17" y="24"/>
                  </a:cubicBezTo>
                  <a:cubicBezTo>
                    <a:pt x="19" y="23"/>
                    <a:pt x="20" y="21"/>
                    <a:pt x="20" y="20"/>
                  </a:cubicBezTo>
                  <a:cubicBezTo>
                    <a:pt x="20" y="19"/>
                    <a:pt x="20" y="17"/>
                    <a:pt x="20" y="15"/>
                  </a:cubicBezTo>
                  <a:cubicBezTo>
                    <a:pt x="19" y="14"/>
                    <a:pt x="18" y="12"/>
                    <a:pt x="15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7" y="19"/>
                    <a:pt x="9" y="22"/>
                    <a:pt x="1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62">
              <a:extLst>
                <a:ext uri="{FF2B5EF4-FFF2-40B4-BE49-F238E27FC236}">
                  <a16:creationId xmlns:a16="http://schemas.microsoft.com/office/drawing/2014/main" id="{0A8A6A06-FBF4-4AFC-BBBA-4E22E9C8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358" y="4642811"/>
              <a:ext cx="39688" cy="28575"/>
            </a:xfrm>
            <a:custGeom>
              <a:avLst/>
              <a:gdLst>
                <a:gd name="T0" fmla="*/ 25 w 25"/>
                <a:gd name="T1" fmla="*/ 0 h 18"/>
                <a:gd name="T2" fmla="*/ 0 w 25"/>
                <a:gd name="T3" fmla="*/ 3 h 18"/>
                <a:gd name="T4" fmla="*/ 19 w 25"/>
                <a:gd name="T5" fmla="*/ 18 h 18"/>
                <a:gd name="T6" fmla="*/ 25 w 2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8">
                  <a:moveTo>
                    <a:pt x="25" y="0"/>
                  </a:moveTo>
                  <a:lnTo>
                    <a:pt x="0" y="3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63">
              <a:extLst>
                <a:ext uri="{FF2B5EF4-FFF2-40B4-BE49-F238E27FC236}">
                  <a16:creationId xmlns:a16="http://schemas.microsoft.com/office/drawing/2014/main" id="{05BECB14-101A-40C8-91C0-90AB5D053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4820" y="5565148"/>
              <a:ext cx="38100" cy="61913"/>
            </a:xfrm>
            <a:custGeom>
              <a:avLst/>
              <a:gdLst>
                <a:gd name="T0" fmla="*/ 7 w 21"/>
                <a:gd name="T1" fmla="*/ 10 h 33"/>
                <a:gd name="T2" fmla="*/ 4 w 21"/>
                <a:gd name="T3" fmla="*/ 12 h 33"/>
                <a:gd name="T4" fmla="*/ 2 w 21"/>
                <a:gd name="T5" fmla="*/ 15 h 33"/>
                <a:gd name="T6" fmla="*/ 1 w 21"/>
                <a:gd name="T7" fmla="*/ 19 h 33"/>
                <a:gd name="T8" fmla="*/ 0 w 21"/>
                <a:gd name="T9" fmla="*/ 23 h 33"/>
                <a:gd name="T10" fmla="*/ 2 w 21"/>
                <a:gd name="T11" fmla="*/ 26 h 33"/>
                <a:gd name="T12" fmla="*/ 9 w 21"/>
                <a:gd name="T13" fmla="*/ 32 h 33"/>
                <a:gd name="T14" fmla="*/ 12 w 21"/>
                <a:gd name="T15" fmla="*/ 33 h 33"/>
                <a:gd name="T16" fmla="*/ 15 w 21"/>
                <a:gd name="T17" fmla="*/ 33 h 33"/>
                <a:gd name="T18" fmla="*/ 19 w 21"/>
                <a:gd name="T19" fmla="*/ 29 h 33"/>
                <a:gd name="T20" fmla="*/ 20 w 21"/>
                <a:gd name="T21" fmla="*/ 26 h 33"/>
                <a:gd name="T22" fmla="*/ 21 w 21"/>
                <a:gd name="T23" fmla="*/ 24 h 33"/>
                <a:gd name="T24" fmla="*/ 20 w 21"/>
                <a:gd name="T25" fmla="*/ 20 h 33"/>
                <a:gd name="T26" fmla="*/ 14 w 21"/>
                <a:gd name="T27" fmla="*/ 16 h 33"/>
                <a:gd name="T28" fmla="*/ 14 w 21"/>
                <a:gd name="T29" fmla="*/ 11 h 33"/>
                <a:gd name="T30" fmla="*/ 17 w 21"/>
                <a:gd name="T31" fmla="*/ 11 h 33"/>
                <a:gd name="T32" fmla="*/ 18 w 21"/>
                <a:gd name="T33" fmla="*/ 8 h 33"/>
                <a:gd name="T34" fmla="*/ 18 w 21"/>
                <a:gd name="T35" fmla="*/ 5 h 33"/>
                <a:gd name="T36" fmla="*/ 18 w 21"/>
                <a:gd name="T37" fmla="*/ 2 h 33"/>
                <a:gd name="T38" fmla="*/ 15 w 21"/>
                <a:gd name="T39" fmla="*/ 2 h 33"/>
                <a:gd name="T40" fmla="*/ 10 w 21"/>
                <a:gd name="T41" fmla="*/ 8 h 33"/>
                <a:gd name="T42" fmla="*/ 9 w 21"/>
                <a:gd name="T43" fmla="*/ 9 h 33"/>
                <a:gd name="T44" fmla="*/ 7 w 21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33">
                  <a:moveTo>
                    <a:pt x="7" y="10"/>
                  </a:moveTo>
                  <a:cubicBezTo>
                    <a:pt x="5" y="10"/>
                    <a:pt x="4" y="12"/>
                    <a:pt x="4" y="12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6"/>
                    <a:pt x="1" y="19"/>
                    <a:pt x="1" y="19"/>
                  </a:cubicBezTo>
                  <a:cubicBezTo>
                    <a:pt x="0" y="20"/>
                    <a:pt x="0" y="23"/>
                    <a:pt x="0" y="23"/>
                  </a:cubicBezTo>
                  <a:cubicBezTo>
                    <a:pt x="0" y="24"/>
                    <a:pt x="2" y="26"/>
                    <a:pt x="2" y="26"/>
                  </a:cubicBezTo>
                  <a:cubicBezTo>
                    <a:pt x="3" y="29"/>
                    <a:pt x="9" y="32"/>
                    <a:pt x="9" y="32"/>
                  </a:cubicBezTo>
                  <a:cubicBezTo>
                    <a:pt x="10" y="33"/>
                    <a:pt x="11" y="33"/>
                    <a:pt x="12" y="33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9" y="33"/>
                    <a:pt x="19" y="29"/>
                    <a:pt x="19" y="29"/>
                  </a:cubicBezTo>
                  <a:cubicBezTo>
                    <a:pt x="18" y="28"/>
                    <a:pt x="20" y="26"/>
                    <a:pt x="20" y="26"/>
                  </a:cubicBezTo>
                  <a:cubicBezTo>
                    <a:pt x="21" y="25"/>
                    <a:pt x="21" y="24"/>
                    <a:pt x="21" y="24"/>
                  </a:cubicBezTo>
                  <a:cubicBezTo>
                    <a:pt x="20" y="23"/>
                    <a:pt x="20" y="20"/>
                    <a:pt x="20" y="20"/>
                  </a:cubicBezTo>
                  <a:cubicBezTo>
                    <a:pt x="18" y="19"/>
                    <a:pt x="14" y="16"/>
                    <a:pt x="14" y="16"/>
                  </a:cubicBezTo>
                  <a:cubicBezTo>
                    <a:pt x="11" y="12"/>
                    <a:pt x="14" y="11"/>
                    <a:pt x="14" y="11"/>
                  </a:cubicBezTo>
                  <a:cubicBezTo>
                    <a:pt x="16" y="12"/>
                    <a:pt x="17" y="11"/>
                    <a:pt x="17" y="11"/>
                  </a:cubicBezTo>
                  <a:cubicBezTo>
                    <a:pt x="19" y="11"/>
                    <a:pt x="18" y="8"/>
                    <a:pt x="18" y="8"/>
                  </a:cubicBezTo>
                  <a:cubicBezTo>
                    <a:pt x="18" y="6"/>
                    <a:pt x="18" y="5"/>
                    <a:pt x="18" y="5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6" y="0"/>
                    <a:pt x="15" y="2"/>
                    <a:pt x="15" y="2"/>
                  </a:cubicBezTo>
                  <a:cubicBezTo>
                    <a:pt x="14" y="4"/>
                    <a:pt x="10" y="8"/>
                    <a:pt x="10" y="8"/>
                  </a:cubicBezTo>
                  <a:cubicBezTo>
                    <a:pt x="9" y="8"/>
                    <a:pt x="9" y="9"/>
                    <a:pt x="9" y="9"/>
                  </a:cubicBezTo>
                  <a:cubicBezTo>
                    <a:pt x="8" y="10"/>
                    <a:pt x="7" y="10"/>
                    <a:pt x="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64">
              <a:extLst>
                <a:ext uri="{FF2B5EF4-FFF2-40B4-BE49-F238E27FC236}">
                  <a16:creationId xmlns:a16="http://schemas.microsoft.com/office/drawing/2014/main" id="{C8E54980-2AFF-481A-9172-813B1144D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7633" y="5504823"/>
              <a:ext cx="7938" cy="20638"/>
            </a:xfrm>
            <a:custGeom>
              <a:avLst/>
              <a:gdLst>
                <a:gd name="T0" fmla="*/ 0 w 4"/>
                <a:gd name="T1" fmla="*/ 0 h 11"/>
                <a:gd name="T2" fmla="*/ 2 w 4"/>
                <a:gd name="T3" fmla="*/ 5 h 11"/>
                <a:gd name="T4" fmla="*/ 2 w 4"/>
                <a:gd name="T5" fmla="*/ 7 h 11"/>
                <a:gd name="T6" fmla="*/ 3 w 4"/>
                <a:gd name="T7" fmla="*/ 10 h 11"/>
                <a:gd name="T8" fmla="*/ 4 w 4"/>
                <a:gd name="T9" fmla="*/ 9 h 11"/>
                <a:gd name="T10" fmla="*/ 3 w 4"/>
                <a:gd name="T11" fmla="*/ 3 h 11"/>
                <a:gd name="T12" fmla="*/ 3 w 4"/>
                <a:gd name="T13" fmla="*/ 0 h 11"/>
                <a:gd name="T14" fmla="*/ 0 w 4"/>
                <a:gd name="T1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11">
                  <a:moveTo>
                    <a:pt x="0" y="0"/>
                  </a:moveTo>
                  <a:cubicBezTo>
                    <a:pt x="1" y="3"/>
                    <a:pt x="2" y="4"/>
                    <a:pt x="2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4" y="9"/>
                    <a:pt x="3" y="8"/>
                    <a:pt x="3" y="10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8"/>
                    <a:pt x="4" y="5"/>
                    <a:pt x="3" y="3"/>
                  </a:cubicBezTo>
                  <a:cubicBezTo>
                    <a:pt x="3" y="2"/>
                    <a:pt x="3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65">
              <a:extLst>
                <a:ext uri="{FF2B5EF4-FFF2-40B4-BE49-F238E27FC236}">
                  <a16:creationId xmlns:a16="http://schemas.microsoft.com/office/drawing/2014/main" id="{70EA85F6-4343-4B69-A812-A3891ADC6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4295" y="5517523"/>
              <a:ext cx="33338" cy="12700"/>
            </a:xfrm>
            <a:custGeom>
              <a:avLst/>
              <a:gdLst>
                <a:gd name="T0" fmla="*/ 0 w 18"/>
                <a:gd name="T1" fmla="*/ 7 h 7"/>
                <a:gd name="T2" fmla="*/ 5 w 18"/>
                <a:gd name="T3" fmla="*/ 6 h 7"/>
                <a:gd name="T4" fmla="*/ 17 w 18"/>
                <a:gd name="T5" fmla="*/ 3 h 7"/>
                <a:gd name="T6" fmla="*/ 18 w 18"/>
                <a:gd name="T7" fmla="*/ 2 h 7"/>
                <a:gd name="T8" fmla="*/ 18 w 18"/>
                <a:gd name="T9" fmla="*/ 2 h 7"/>
                <a:gd name="T10" fmla="*/ 17 w 18"/>
                <a:gd name="T11" fmla="*/ 0 h 7"/>
                <a:gd name="T12" fmla="*/ 0 w 1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7">
                  <a:moveTo>
                    <a:pt x="0" y="7"/>
                  </a:moveTo>
                  <a:cubicBezTo>
                    <a:pt x="1" y="7"/>
                    <a:pt x="3" y="6"/>
                    <a:pt x="5" y="6"/>
                  </a:cubicBezTo>
                  <a:cubicBezTo>
                    <a:pt x="9" y="6"/>
                    <a:pt x="15" y="5"/>
                    <a:pt x="17" y="3"/>
                  </a:cubicBezTo>
                  <a:cubicBezTo>
                    <a:pt x="18" y="3"/>
                    <a:pt x="18" y="3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0"/>
                  </a:cubicBezTo>
                  <a:cubicBezTo>
                    <a:pt x="12" y="4"/>
                    <a:pt x="3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66">
              <a:extLst>
                <a:ext uri="{FF2B5EF4-FFF2-40B4-BE49-F238E27FC236}">
                  <a16:creationId xmlns:a16="http://schemas.microsoft.com/office/drawing/2014/main" id="{DD769AD1-4A03-4B7F-9DE7-52A5BE103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9433" y="4149098"/>
              <a:ext cx="63500" cy="68263"/>
            </a:xfrm>
            <a:custGeom>
              <a:avLst/>
              <a:gdLst>
                <a:gd name="T0" fmla="*/ 12 w 34"/>
                <a:gd name="T1" fmla="*/ 36 h 37"/>
                <a:gd name="T2" fmla="*/ 24 w 34"/>
                <a:gd name="T3" fmla="*/ 35 h 37"/>
                <a:gd name="T4" fmla="*/ 32 w 34"/>
                <a:gd name="T5" fmla="*/ 23 h 37"/>
                <a:gd name="T6" fmla="*/ 32 w 34"/>
                <a:gd name="T7" fmla="*/ 9 h 37"/>
                <a:gd name="T8" fmla="*/ 22 w 34"/>
                <a:gd name="T9" fmla="*/ 2 h 37"/>
                <a:gd name="T10" fmla="*/ 10 w 34"/>
                <a:gd name="T11" fmla="*/ 3 h 37"/>
                <a:gd name="T12" fmla="*/ 2 w 34"/>
                <a:gd name="T13" fmla="*/ 15 h 37"/>
                <a:gd name="T14" fmla="*/ 3 w 34"/>
                <a:gd name="T15" fmla="*/ 29 h 37"/>
                <a:gd name="T16" fmla="*/ 12 w 34"/>
                <a:gd name="T17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7">
                  <a:moveTo>
                    <a:pt x="12" y="36"/>
                  </a:moveTo>
                  <a:cubicBezTo>
                    <a:pt x="17" y="37"/>
                    <a:pt x="21" y="37"/>
                    <a:pt x="24" y="35"/>
                  </a:cubicBezTo>
                  <a:cubicBezTo>
                    <a:pt x="28" y="33"/>
                    <a:pt x="31" y="29"/>
                    <a:pt x="32" y="23"/>
                  </a:cubicBezTo>
                  <a:cubicBezTo>
                    <a:pt x="34" y="17"/>
                    <a:pt x="34" y="12"/>
                    <a:pt x="32" y="9"/>
                  </a:cubicBezTo>
                  <a:cubicBezTo>
                    <a:pt x="30" y="5"/>
                    <a:pt x="26" y="3"/>
                    <a:pt x="22" y="2"/>
                  </a:cubicBezTo>
                  <a:cubicBezTo>
                    <a:pt x="17" y="0"/>
                    <a:pt x="13" y="1"/>
                    <a:pt x="10" y="3"/>
                  </a:cubicBezTo>
                  <a:cubicBezTo>
                    <a:pt x="6" y="5"/>
                    <a:pt x="3" y="9"/>
                    <a:pt x="2" y="15"/>
                  </a:cubicBezTo>
                  <a:cubicBezTo>
                    <a:pt x="0" y="20"/>
                    <a:pt x="1" y="25"/>
                    <a:pt x="3" y="29"/>
                  </a:cubicBezTo>
                  <a:cubicBezTo>
                    <a:pt x="5" y="33"/>
                    <a:pt x="8" y="35"/>
                    <a:pt x="1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67">
              <a:extLst>
                <a:ext uri="{FF2B5EF4-FFF2-40B4-BE49-F238E27FC236}">
                  <a16:creationId xmlns:a16="http://schemas.microsoft.com/office/drawing/2014/main" id="{73BA7010-9DCC-4238-AEE8-C7FC41AEDF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008" y="4030036"/>
              <a:ext cx="1677988" cy="1673225"/>
            </a:xfrm>
            <a:custGeom>
              <a:avLst/>
              <a:gdLst>
                <a:gd name="T0" fmla="*/ 812 w 905"/>
                <a:gd name="T1" fmla="*/ 404 h 905"/>
                <a:gd name="T2" fmla="*/ 774 w 905"/>
                <a:gd name="T3" fmla="*/ 279 h 905"/>
                <a:gd name="T4" fmla="*/ 779 w 905"/>
                <a:gd name="T5" fmla="*/ 210 h 905"/>
                <a:gd name="T6" fmla="*/ 721 w 905"/>
                <a:gd name="T7" fmla="*/ 187 h 905"/>
                <a:gd name="T8" fmla="*/ 685 w 905"/>
                <a:gd name="T9" fmla="*/ 149 h 905"/>
                <a:gd name="T10" fmla="*/ 617 w 905"/>
                <a:gd name="T11" fmla="*/ 113 h 905"/>
                <a:gd name="T12" fmla="*/ 564 w 905"/>
                <a:gd name="T13" fmla="*/ 108 h 905"/>
                <a:gd name="T14" fmla="*/ 460 w 905"/>
                <a:gd name="T15" fmla="*/ 45 h 905"/>
                <a:gd name="T16" fmla="*/ 375 w 905"/>
                <a:gd name="T17" fmla="*/ 52 h 905"/>
                <a:gd name="T18" fmla="*/ 348 w 905"/>
                <a:gd name="T19" fmla="*/ 78 h 905"/>
                <a:gd name="T20" fmla="*/ 362 w 905"/>
                <a:gd name="T21" fmla="*/ 92 h 905"/>
                <a:gd name="T22" fmla="*/ 312 w 905"/>
                <a:gd name="T23" fmla="*/ 104 h 905"/>
                <a:gd name="T24" fmla="*/ 250 w 905"/>
                <a:gd name="T25" fmla="*/ 96 h 905"/>
                <a:gd name="T26" fmla="*/ 175 w 905"/>
                <a:gd name="T27" fmla="*/ 151 h 905"/>
                <a:gd name="T28" fmla="*/ 121 w 905"/>
                <a:gd name="T29" fmla="*/ 211 h 905"/>
                <a:gd name="T30" fmla="*/ 120 w 905"/>
                <a:gd name="T31" fmla="*/ 281 h 905"/>
                <a:gd name="T32" fmla="*/ 132 w 905"/>
                <a:gd name="T33" fmla="*/ 289 h 905"/>
                <a:gd name="T34" fmla="*/ 95 w 905"/>
                <a:gd name="T35" fmla="*/ 410 h 905"/>
                <a:gd name="T36" fmla="*/ 41 w 905"/>
                <a:gd name="T37" fmla="*/ 453 h 905"/>
                <a:gd name="T38" fmla="*/ 51 w 905"/>
                <a:gd name="T39" fmla="*/ 518 h 905"/>
                <a:gd name="T40" fmla="*/ 101 w 905"/>
                <a:gd name="T41" fmla="*/ 526 h 905"/>
                <a:gd name="T42" fmla="*/ 238 w 905"/>
                <a:gd name="T43" fmla="*/ 764 h 905"/>
                <a:gd name="T44" fmla="*/ 218 w 905"/>
                <a:gd name="T45" fmla="*/ 741 h 905"/>
                <a:gd name="T46" fmla="*/ 196 w 905"/>
                <a:gd name="T47" fmla="*/ 742 h 905"/>
                <a:gd name="T48" fmla="*/ 289 w 905"/>
                <a:gd name="T49" fmla="*/ 829 h 905"/>
                <a:gd name="T50" fmla="*/ 284 w 905"/>
                <a:gd name="T51" fmla="*/ 801 h 905"/>
                <a:gd name="T52" fmla="*/ 309 w 905"/>
                <a:gd name="T53" fmla="*/ 811 h 905"/>
                <a:gd name="T54" fmla="*/ 317 w 905"/>
                <a:gd name="T55" fmla="*/ 787 h 905"/>
                <a:gd name="T56" fmla="*/ 310 w 905"/>
                <a:gd name="T57" fmla="*/ 842 h 905"/>
                <a:gd name="T58" fmla="*/ 352 w 905"/>
                <a:gd name="T59" fmla="*/ 858 h 905"/>
                <a:gd name="T60" fmla="*/ 420 w 905"/>
                <a:gd name="T61" fmla="*/ 807 h 905"/>
                <a:gd name="T62" fmla="*/ 413 w 905"/>
                <a:gd name="T63" fmla="*/ 875 h 905"/>
                <a:gd name="T64" fmla="*/ 399 w 905"/>
                <a:gd name="T65" fmla="*/ 866 h 905"/>
                <a:gd name="T66" fmla="*/ 430 w 905"/>
                <a:gd name="T67" fmla="*/ 858 h 905"/>
                <a:gd name="T68" fmla="*/ 479 w 905"/>
                <a:gd name="T69" fmla="*/ 856 h 905"/>
                <a:gd name="T70" fmla="*/ 477 w 905"/>
                <a:gd name="T71" fmla="*/ 831 h 905"/>
                <a:gd name="T72" fmla="*/ 529 w 905"/>
                <a:gd name="T73" fmla="*/ 866 h 905"/>
                <a:gd name="T74" fmla="*/ 486 w 905"/>
                <a:gd name="T75" fmla="*/ 850 h 905"/>
                <a:gd name="T76" fmla="*/ 516 w 905"/>
                <a:gd name="T77" fmla="*/ 820 h 905"/>
                <a:gd name="T78" fmla="*/ 599 w 905"/>
                <a:gd name="T79" fmla="*/ 840 h 905"/>
                <a:gd name="T80" fmla="*/ 588 w 905"/>
                <a:gd name="T81" fmla="*/ 834 h 905"/>
                <a:gd name="T82" fmla="*/ 584 w 905"/>
                <a:gd name="T83" fmla="*/ 805 h 905"/>
                <a:gd name="T84" fmla="*/ 599 w 905"/>
                <a:gd name="T85" fmla="*/ 796 h 905"/>
                <a:gd name="T86" fmla="*/ 616 w 905"/>
                <a:gd name="T87" fmla="*/ 825 h 905"/>
                <a:gd name="T88" fmla="*/ 655 w 905"/>
                <a:gd name="T89" fmla="*/ 793 h 905"/>
                <a:gd name="T90" fmla="*/ 654 w 905"/>
                <a:gd name="T91" fmla="*/ 760 h 905"/>
                <a:gd name="T92" fmla="*/ 663 w 905"/>
                <a:gd name="T93" fmla="*/ 752 h 905"/>
                <a:gd name="T94" fmla="*/ 668 w 905"/>
                <a:gd name="T95" fmla="*/ 737 h 905"/>
                <a:gd name="T96" fmla="*/ 676 w 905"/>
                <a:gd name="T97" fmla="*/ 737 h 905"/>
                <a:gd name="T98" fmla="*/ 677 w 905"/>
                <a:gd name="T99" fmla="*/ 721 h 905"/>
                <a:gd name="T100" fmla="*/ 691 w 905"/>
                <a:gd name="T101" fmla="*/ 738 h 905"/>
                <a:gd name="T102" fmla="*/ 665 w 905"/>
                <a:gd name="T103" fmla="*/ 771 h 905"/>
                <a:gd name="T104" fmla="*/ 688 w 905"/>
                <a:gd name="T105" fmla="*/ 807 h 905"/>
                <a:gd name="T106" fmla="*/ 679 w 905"/>
                <a:gd name="T107" fmla="*/ 769 h 905"/>
                <a:gd name="T108" fmla="*/ 705 w 905"/>
                <a:gd name="T109" fmla="*/ 766 h 905"/>
                <a:gd name="T110" fmla="*/ 778 w 905"/>
                <a:gd name="T111" fmla="*/ 296 h 905"/>
                <a:gd name="T112" fmla="*/ 810 w 905"/>
                <a:gd name="T113" fmla="*/ 386 h 905"/>
                <a:gd name="T114" fmla="*/ 843 w 905"/>
                <a:gd name="T115" fmla="*/ 516 h 905"/>
                <a:gd name="T116" fmla="*/ 807 w 905"/>
                <a:gd name="T117" fmla="*/ 47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5" h="905">
                  <a:moveTo>
                    <a:pt x="453" y="0"/>
                  </a:moveTo>
                  <a:cubicBezTo>
                    <a:pt x="203" y="0"/>
                    <a:pt x="0" y="203"/>
                    <a:pt x="0" y="453"/>
                  </a:cubicBezTo>
                  <a:cubicBezTo>
                    <a:pt x="0" y="702"/>
                    <a:pt x="203" y="905"/>
                    <a:pt x="453" y="905"/>
                  </a:cubicBezTo>
                  <a:cubicBezTo>
                    <a:pt x="703" y="905"/>
                    <a:pt x="905" y="702"/>
                    <a:pt x="905" y="453"/>
                  </a:cubicBezTo>
                  <a:cubicBezTo>
                    <a:pt x="905" y="203"/>
                    <a:pt x="703" y="0"/>
                    <a:pt x="453" y="0"/>
                  </a:cubicBezTo>
                  <a:close/>
                  <a:moveTo>
                    <a:pt x="858" y="430"/>
                  </a:moveTo>
                  <a:cubicBezTo>
                    <a:pt x="849" y="431"/>
                    <a:pt x="849" y="431"/>
                    <a:pt x="849" y="431"/>
                  </a:cubicBezTo>
                  <a:cubicBezTo>
                    <a:pt x="846" y="400"/>
                    <a:pt x="846" y="400"/>
                    <a:pt x="846" y="400"/>
                  </a:cubicBezTo>
                  <a:cubicBezTo>
                    <a:pt x="835" y="401"/>
                    <a:pt x="835" y="401"/>
                    <a:pt x="835" y="401"/>
                  </a:cubicBezTo>
                  <a:cubicBezTo>
                    <a:pt x="838" y="430"/>
                    <a:pt x="838" y="430"/>
                    <a:pt x="838" y="430"/>
                  </a:cubicBezTo>
                  <a:cubicBezTo>
                    <a:pt x="829" y="431"/>
                    <a:pt x="829" y="431"/>
                    <a:pt x="829" y="431"/>
                  </a:cubicBezTo>
                  <a:cubicBezTo>
                    <a:pt x="826" y="402"/>
                    <a:pt x="826" y="402"/>
                    <a:pt x="826" y="402"/>
                  </a:cubicBezTo>
                  <a:cubicBezTo>
                    <a:pt x="812" y="404"/>
                    <a:pt x="812" y="404"/>
                    <a:pt x="812" y="404"/>
                  </a:cubicBezTo>
                  <a:cubicBezTo>
                    <a:pt x="816" y="435"/>
                    <a:pt x="816" y="435"/>
                    <a:pt x="816" y="435"/>
                  </a:cubicBezTo>
                  <a:cubicBezTo>
                    <a:pt x="807" y="436"/>
                    <a:pt x="807" y="436"/>
                    <a:pt x="807" y="436"/>
                  </a:cubicBezTo>
                  <a:cubicBezTo>
                    <a:pt x="802" y="393"/>
                    <a:pt x="802" y="393"/>
                    <a:pt x="802" y="393"/>
                  </a:cubicBezTo>
                  <a:cubicBezTo>
                    <a:pt x="854" y="388"/>
                    <a:pt x="854" y="388"/>
                    <a:pt x="854" y="388"/>
                  </a:cubicBezTo>
                  <a:lnTo>
                    <a:pt x="858" y="430"/>
                  </a:lnTo>
                  <a:close/>
                  <a:moveTo>
                    <a:pt x="799" y="241"/>
                  </a:moveTo>
                  <a:cubicBezTo>
                    <a:pt x="802" y="246"/>
                    <a:pt x="804" y="250"/>
                    <a:pt x="804" y="253"/>
                  </a:cubicBezTo>
                  <a:cubicBezTo>
                    <a:pt x="805" y="256"/>
                    <a:pt x="805" y="258"/>
                    <a:pt x="804" y="261"/>
                  </a:cubicBezTo>
                  <a:cubicBezTo>
                    <a:pt x="803" y="264"/>
                    <a:pt x="801" y="266"/>
                    <a:pt x="798" y="267"/>
                  </a:cubicBezTo>
                  <a:cubicBezTo>
                    <a:pt x="795" y="269"/>
                    <a:pt x="791" y="270"/>
                    <a:pt x="788" y="269"/>
                  </a:cubicBezTo>
                  <a:cubicBezTo>
                    <a:pt x="784" y="268"/>
                    <a:pt x="781" y="266"/>
                    <a:pt x="778" y="262"/>
                  </a:cubicBezTo>
                  <a:cubicBezTo>
                    <a:pt x="778" y="265"/>
                    <a:pt x="778" y="267"/>
                    <a:pt x="778" y="269"/>
                  </a:cubicBezTo>
                  <a:cubicBezTo>
                    <a:pt x="777" y="272"/>
                    <a:pt x="776" y="275"/>
                    <a:pt x="774" y="279"/>
                  </a:cubicBezTo>
                  <a:cubicBezTo>
                    <a:pt x="769" y="291"/>
                    <a:pt x="769" y="291"/>
                    <a:pt x="769" y="291"/>
                  </a:cubicBezTo>
                  <a:cubicBezTo>
                    <a:pt x="762" y="279"/>
                    <a:pt x="762" y="279"/>
                    <a:pt x="762" y="279"/>
                  </a:cubicBezTo>
                  <a:cubicBezTo>
                    <a:pt x="767" y="266"/>
                    <a:pt x="767" y="266"/>
                    <a:pt x="767" y="266"/>
                  </a:cubicBezTo>
                  <a:cubicBezTo>
                    <a:pt x="769" y="261"/>
                    <a:pt x="770" y="258"/>
                    <a:pt x="770" y="257"/>
                  </a:cubicBezTo>
                  <a:cubicBezTo>
                    <a:pt x="771" y="255"/>
                    <a:pt x="771" y="254"/>
                    <a:pt x="770" y="253"/>
                  </a:cubicBezTo>
                  <a:cubicBezTo>
                    <a:pt x="770" y="252"/>
                    <a:pt x="769" y="250"/>
                    <a:pt x="768" y="248"/>
                  </a:cubicBezTo>
                  <a:cubicBezTo>
                    <a:pt x="766" y="246"/>
                    <a:pt x="766" y="246"/>
                    <a:pt x="766" y="246"/>
                  </a:cubicBezTo>
                  <a:cubicBezTo>
                    <a:pt x="748" y="257"/>
                    <a:pt x="748" y="257"/>
                    <a:pt x="748" y="257"/>
                  </a:cubicBezTo>
                  <a:cubicBezTo>
                    <a:pt x="742" y="247"/>
                    <a:pt x="742" y="247"/>
                    <a:pt x="742" y="247"/>
                  </a:cubicBezTo>
                  <a:cubicBezTo>
                    <a:pt x="786" y="220"/>
                    <a:pt x="786" y="220"/>
                    <a:pt x="786" y="220"/>
                  </a:cubicBezTo>
                  <a:lnTo>
                    <a:pt x="799" y="241"/>
                  </a:lnTo>
                  <a:close/>
                  <a:moveTo>
                    <a:pt x="750" y="176"/>
                  </a:moveTo>
                  <a:cubicBezTo>
                    <a:pt x="779" y="210"/>
                    <a:pt x="779" y="210"/>
                    <a:pt x="779" y="210"/>
                  </a:cubicBezTo>
                  <a:cubicBezTo>
                    <a:pt x="772" y="216"/>
                    <a:pt x="772" y="216"/>
                    <a:pt x="772" y="216"/>
                  </a:cubicBezTo>
                  <a:cubicBezTo>
                    <a:pt x="761" y="203"/>
                    <a:pt x="761" y="203"/>
                    <a:pt x="761" y="203"/>
                  </a:cubicBezTo>
                  <a:cubicBezTo>
                    <a:pt x="728" y="230"/>
                    <a:pt x="728" y="230"/>
                    <a:pt x="728" y="230"/>
                  </a:cubicBezTo>
                  <a:cubicBezTo>
                    <a:pt x="721" y="221"/>
                    <a:pt x="721" y="221"/>
                    <a:pt x="721" y="221"/>
                  </a:cubicBezTo>
                  <a:cubicBezTo>
                    <a:pt x="754" y="194"/>
                    <a:pt x="754" y="194"/>
                    <a:pt x="754" y="194"/>
                  </a:cubicBezTo>
                  <a:cubicBezTo>
                    <a:pt x="744" y="181"/>
                    <a:pt x="744" y="181"/>
                    <a:pt x="744" y="181"/>
                  </a:cubicBezTo>
                  <a:lnTo>
                    <a:pt x="750" y="176"/>
                  </a:lnTo>
                  <a:close/>
                  <a:moveTo>
                    <a:pt x="742" y="167"/>
                  </a:moveTo>
                  <a:cubicBezTo>
                    <a:pt x="736" y="174"/>
                    <a:pt x="736" y="174"/>
                    <a:pt x="736" y="174"/>
                  </a:cubicBezTo>
                  <a:cubicBezTo>
                    <a:pt x="714" y="153"/>
                    <a:pt x="714" y="153"/>
                    <a:pt x="714" y="153"/>
                  </a:cubicBezTo>
                  <a:cubicBezTo>
                    <a:pt x="706" y="162"/>
                    <a:pt x="706" y="162"/>
                    <a:pt x="706" y="162"/>
                  </a:cubicBezTo>
                  <a:cubicBezTo>
                    <a:pt x="727" y="181"/>
                    <a:pt x="727" y="181"/>
                    <a:pt x="727" y="181"/>
                  </a:cubicBezTo>
                  <a:cubicBezTo>
                    <a:pt x="721" y="187"/>
                    <a:pt x="721" y="187"/>
                    <a:pt x="721" y="187"/>
                  </a:cubicBezTo>
                  <a:cubicBezTo>
                    <a:pt x="700" y="168"/>
                    <a:pt x="700" y="168"/>
                    <a:pt x="700" y="168"/>
                  </a:cubicBezTo>
                  <a:cubicBezTo>
                    <a:pt x="691" y="178"/>
                    <a:pt x="691" y="178"/>
                    <a:pt x="691" y="178"/>
                  </a:cubicBezTo>
                  <a:cubicBezTo>
                    <a:pt x="714" y="200"/>
                    <a:pt x="714" y="200"/>
                    <a:pt x="714" y="200"/>
                  </a:cubicBezTo>
                  <a:cubicBezTo>
                    <a:pt x="708" y="206"/>
                    <a:pt x="708" y="206"/>
                    <a:pt x="708" y="206"/>
                  </a:cubicBezTo>
                  <a:cubicBezTo>
                    <a:pt x="677" y="177"/>
                    <a:pt x="677" y="177"/>
                    <a:pt x="677" y="177"/>
                  </a:cubicBezTo>
                  <a:cubicBezTo>
                    <a:pt x="711" y="139"/>
                    <a:pt x="711" y="139"/>
                    <a:pt x="711" y="139"/>
                  </a:cubicBezTo>
                  <a:lnTo>
                    <a:pt x="742" y="167"/>
                  </a:lnTo>
                  <a:close/>
                  <a:moveTo>
                    <a:pt x="665" y="105"/>
                  </a:moveTo>
                  <a:cubicBezTo>
                    <a:pt x="680" y="116"/>
                    <a:pt x="680" y="116"/>
                    <a:pt x="680" y="116"/>
                  </a:cubicBezTo>
                  <a:cubicBezTo>
                    <a:pt x="686" y="120"/>
                    <a:pt x="689" y="122"/>
                    <a:pt x="691" y="124"/>
                  </a:cubicBezTo>
                  <a:cubicBezTo>
                    <a:pt x="693" y="127"/>
                    <a:pt x="694" y="130"/>
                    <a:pt x="695" y="133"/>
                  </a:cubicBezTo>
                  <a:cubicBezTo>
                    <a:pt x="695" y="136"/>
                    <a:pt x="694" y="140"/>
                    <a:pt x="692" y="143"/>
                  </a:cubicBezTo>
                  <a:cubicBezTo>
                    <a:pt x="690" y="146"/>
                    <a:pt x="688" y="148"/>
                    <a:pt x="685" y="149"/>
                  </a:cubicBezTo>
                  <a:cubicBezTo>
                    <a:pt x="683" y="150"/>
                    <a:pt x="681" y="150"/>
                    <a:pt x="679" y="150"/>
                  </a:cubicBezTo>
                  <a:cubicBezTo>
                    <a:pt x="676" y="150"/>
                    <a:pt x="674" y="149"/>
                    <a:pt x="672" y="149"/>
                  </a:cubicBezTo>
                  <a:cubicBezTo>
                    <a:pt x="670" y="148"/>
                    <a:pt x="666" y="145"/>
                    <a:pt x="662" y="143"/>
                  </a:cubicBezTo>
                  <a:cubicBezTo>
                    <a:pt x="656" y="138"/>
                    <a:pt x="656" y="138"/>
                    <a:pt x="656" y="138"/>
                  </a:cubicBezTo>
                  <a:cubicBezTo>
                    <a:pt x="645" y="154"/>
                    <a:pt x="645" y="154"/>
                    <a:pt x="645" y="154"/>
                  </a:cubicBezTo>
                  <a:cubicBezTo>
                    <a:pt x="635" y="148"/>
                    <a:pt x="635" y="148"/>
                    <a:pt x="635" y="148"/>
                  </a:cubicBezTo>
                  <a:lnTo>
                    <a:pt x="665" y="105"/>
                  </a:lnTo>
                  <a:close/>
                  <a:moveTo>
                    <a:pt x="632" y="87"/>
                  </a:moveTo>
                  <a:cubicBezTo>
                    <a:pt x="629" y="95"/>
                    <a:pt x="629" y="95"/>
                    <a:pt x="629" y="95"/>
                  </a:cubicBezTo>
                  <a:cubicBezTo>
                    <a:pt x="603" y="84"/>
                    <a:pt x="603" y="84"/>
                    <a:pt x="603" y="84"/>
                  </a:cubicBezTo>
                  <a:cubicBezTo>
                    <a:pt x="598" y="95"/>
                    <a:pt x="598" y="95"/>
                    <a:pt x="598" y="95"/>
                  </a:cubicBezTo>
                  <a:cubicBezTo>
                    <a:pt x="620" y="105"/>
                    <a:pt x="620" y="105"/>
                    <a:pt x="620" y="105"/>
                  </a:cubicBezTo>
                  <a:cubicBezTo>
                    <a:pt x="617" y="113"/>
                    <a:pt x="617" y="113"/>
                    <a:pt x="617" y="113"/>
                  </a:cubicBezTo>
                  <a:cubicBezTo>
                    <a:pt x="595" y="103"/>
                    <a:pt x="595" y="103"/>
                    <a:pt x="595" y="103"/>
                  </a:cubicBezTo>
                  <a:cubicBezTo>
                    <a:pt x="586" y="123"/>
                    <a:pt x="586" y="123"/>
                    <a:pt x="586" y="123"/>
                  </a:cubicBezTo>
                  <a:cubicBezTo>
                    <a:pt x="576" y="119"/>
                    <a:pt x="576" y="119"/>
                    <a:pt x="576" y="119"/>
                  </a:cubicBezTo>
                  <a:cubicBezTo>
                    <a:pt x="596" y="71"/>
                    <a:pt x="596" y="71"/>
                    <a:pt x="596" y="71"/>
                  </a:cubicBezTo>
                  <a:lnTo>
                    <a:pt x="632" y="87"/>
                  </a:lnTo>
                  <a:close/>
                  <a:moveTo>
                    <a:pt x="523" y="77"/>
                  </a:moveTo>
                  <a:cubicBezTo>
                    <a:pt x="525" y="72"/>
                    <a:pt x="527" y="68"/>
                    <a:pt x="529" y="65"/>
                  </a:cubicBezTo>
                  <a:cubicBezTo>
                    <a:pt x="531" y="63"/>
                    <a:pt x="534" y="61"/>
                    <a:pt x="536" y="59"/>
                  </a:cubicBezTo>
                  <a:cubicBezTo>
                    <a:pt x="539" y="58"/>
                    <a:pt x="542" y="57"/>
                    <a:pt x="545" y="57"/>
                  </a:cubicBezTo>
                  <a:cubicBezTo>
                    <a:pt x="548" y="56"/>
                    <a:pt x="553" y="57"/>
                    <a:pt x="557" y="58"/>
                  </a:cubicBezTo>
                  <a:cubicBezTo>
                    <a:pt x="565" y="60"/>
                    <a:pt x="571" y="64"/>
                    <a:pt x="575" y="70"/>
                  </a:cubicBezTo>
                  <a:cubicBezTo>
                    <a:pt x="578" y="76"/>
                    <a:pt x="579" y="83"/>
                    <a:pt x="577" y="91"/>
                  </a:cubicBezTo>
                  <a:cubicBezTo>
                    <a:pt x="575" y="99"/>
                    <a:pt x="570" y="105"/>
                    <a:pt x="564" y="108"/>
                  </a:cubicBezTo>
                  <a:cubicBezTo>
                    <a:pt x="558" y="111"/>
                    <a:pt x="551" y="112"/>
                    <a:pt x="543" y="110"/>
                  </a:cubicBezTo>
                  <a:cubicBezTo>
                    <a:pt x="535" y="108"/>
                    <a:pt x="529" y="104"/>
                    <a:pt x="526" y="98"/>
                  </a:cubicBezTo>
                  <a:cubicBezTo>
                    <a:pt x="522" y="92"/>
                    <a:pt x="521" y="85"/>
                    <a:pt x="523" y="77"/>
                  </a:cubicBezTo>
                  <a:close/>
                  <a:moveTo>
                    <a:pt x="460" y="45"/>
                  </a:moveTo>
                  <a:cubicBezTo>
                    <a:pt x="473" y="66"/>
                    <a:pt x="473" y="66"/>
                    <a:pt x="473" y="6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500" y="47"/>
                    <a:pt x="500" y="47"/>
                    <a:pt x="500" y="47"/>
                  </a:cubicBezTo>
                  <a:cubicBezTo>
                    <a:pt x="477" y="76"/>
                    <a:pt x="477" y="76"/>
                    <a:pt x="477" y="76"/>
                  </a:cubicBezTo>
                  <a:cubicBezTo>
                    <a:pt x="476" y="97"/>
                    <a:pt x="476" y="97"/>
                    <a:pt x="476" y="97"/>
                  </a:cubicBezTo>
                  <a:cubicBezTo>
                    <a:pt x="465" y="97"/>
                    <a:pt x="465" y="97"/>
                    <a:pt x="465" y="97"/>
                  </a:cubicBezTo>
                  <a:cubicBezTo>
                    <a:pt x="466" y="75"/>
                    <a:pt x="466" y="75"/>
                    <a:pt x="466" y="75"/>
                  </a:cubicBezTo>
                  <a:cubicBezTo>
                    <a:pt x="447" y="44"/>
                    <a:pt x="447" y="44"/>
                    <a:pt x="447" y="44"/>
                  </a:cubicBezTo>
                  <a:lnTo>
                    <a:pt x="460" y="45"/>
                  </a:lnTo>
                  <a:close/>
                  <a:moveTo>
                    <a:pt x="441" y="44"/>
                  </a:moveTo>
                  <a:cubicBezTo>
                    <a:pt x="442" y="53"/>
                    <a:pt x="442" y="53"/>
                    <a:pt x="442" y="53"/>
                  </a:cubicBezTo>
                  <a:cubicBezTo>
                    <a:pt x="425" y="54"/>
                    <a:pt x="425" y="54"/>
                    <a:pt x="425" y="54"/>
                  </a:cubicBezTo>
                  <a:cubicBezTo>
                    <a:pt x="428" y="97"/>
                    <a:pt x="428" y="97"/>
                    <a:pt x="428" y="97"/>
                  </a:cubicBezTo>
                  <a:cubicBezTo>
                    <a:pt x="417" y="98"/>
                    <a:pt x="417" y="98"/>
                    <a:pt x="417" y="98"/>
                  </a:cubicBezTo>
                  <a:cubicBezTo>
                    <a:pt x="413" y="55"/>
                    <a:pt x="413" y="55"/>
                    <a:pt x="413" y="55"/>
                  </a:cubicBezTo>
                  <a:cubicBezTo>
                    <a:pt x="397" y="56"/>
                    <a:pt x="397" y="56"/>
                    <a:pt x="397" y="56"/>
                  </a:cubicBezTo>
                  <a:cubicBezTo>
                    <a:pt x="396" y="48"/>
                    <a:pt x="396" y="48"/>
                    <a:pt x="396" y="48"/>
                  </a:cubicBezTo>
                  <a:lnTo>
                    <a:pt x="441" y="44"/>
                  </a:lnTo>
                  <a:close/>
                  <a:moveTo>
                    <a:pt x="386" y="50"/>
                  </a:moveTo>
                  <a:cubicBezTo>
                    <a:pt x="395" y="101"/>
                    <a:pt x="395" y="101"/>
                    <a:pt x="395" y="101"/>
                  </a:cubicBezTo>
                  <a:cubicBezTo>
                    <a:pt x="384" y="103"/>
                    <a:pt x="384" y="103"/>
                    <a:pt x="384" y="103"/>
                  </a:cubicBezTo>
                  <a:cubicBezTo>
                    <a:pt x="375" y="52"/>
                    <a:pt x="375" y="52"/>
                    <a:pt x="375" y="52"/>
                  </a:cubicBezTo>
                  <a:lnTo>
                    <a:pt x="386" y="50"/>
                  </a:lnTo>
                  <a:close/>
                  <a:moveTo>
                    <a:pt x="324" y="70"/>
                  </a:moveTo>
                  <a:cubicBezTo>
                    <a:pt x="325" y="68"/>
                    <a:pt x="327" y="65"/>
                    <a:pt x="330" y="63"/>
                  </a:cubicBezTo>
                  <a:cubicBezTo>
                    <a:pt x="333" y="61"/>
                    <a:pt x="336" y="60"/>
                    <a:pt x="340" y="59"/>
                  </a:cubicBezTo>
                  <a:cubicBezTo>
                    <a:pt x="347" y="57"/>
                    <a:pt x="353" y="57"/>
                    <a:pt x="357" y="59"/>
                  </a:cubicBezTo>
                  <a:cubicBezTo>
                    <a:pt x="361" y="60"/>
                    <a:pt x="364" y="63"/>
                    <a:pt x="365" y="68"/>
                  </a:cubicBezTo>
                  <a:cubicBezTo>
                    <a:pt x="354" y="71"/>
                    <a:pt x="354" y="71"/>
                    <a:pt x="354" y="71"/>
                  </a:cubicBezTo>
                  <a:cubicBezTo>
                    <a:pt x="353" y="69"/>
                    <a:pt x="352" y="67"/>
                    <a:pt x="350" y="67"/>
                  </a:cubicBezTo>
                  <a:cubicBezTo>
                    <a:pt x="348" y="66"/>
                    <a:pt x="345" y="66"/>
                    <a:pt x="342" y="67"/>
                  </a:cubicBezTo>
                  <a:cubicBezTo>
                    <a:pt x="339" y="68"/>
                    <a:pt x="337" y="69"/>
                    <a:pt x="335" y="71"/>
                  </a:cubicBezTo>
                  <a:cubicBezTo>
                    <a:pt x="334" y="72"/>
                    <a:pt x="334" y="73"/>
                    <a:pt x="334" y="74"/>
                  </a:cubicBezTo>
                  <a:cubicBezTo>
                    <a:pt x="335" y="76"/>
                    <a:pt x="336" y="76"/>
                    <a:pt x="337" y="77"/>
                  </a:cubicBezTo>
                  <a:cubicBezTo>
                    <a:pt x="339" y="78"/>
                    <a:pt x="342" y="78"/>
                    <a:pt x="348" y="78"/>
                  </a:cubicBezTo>
                  <a:cubicBezTo>
                    <a:pt x="354" y="77"/>
                    <a:pt x="358" y="77"/>
                    <a:pt x="361" y="78"/>
                  </a:cubicBezTo>
                  <a:cubicBezTo>
                    <a:pt x="364" y="79"/>
                    <a:pt x="366" y="80"/>
                    <a:pt x="368" y="81"/>
                  </a:cubicBezTo>
                  <a:cubicBezTo>
                    <a:pt x="370" y="83"/>
                    <a:pt x="372" y="86"/>
                    <a:pt x="373" y="89"/>
                  </a:cubicBezTo>
                  <a:cubicBezTo>
                    <a:pt x="373" y="92"/>
                    <a:pt x="373" y="95"/>
                    <a:pt x="372" y="98"/>
                  </a:cubicBezTo>
                  <a:cubicBezTo>
                    <a:pt x="371" y="101"/>
                    <a:pt x="369" y="103"/>
                    <a:pt x="366" y="105"/>
                  </a:cubicBezTo>
                  <a:cubicBezTo>
                    <a:pt x="364" y="107"/>
                    <a:pt x="360" y="109"/>
                    <a:pt x="355" y="110"/>
                  </a:cubicBezTo>
                  <a:cubicBezTo>
                    <a:pt x="348" y="112"/>
                    <a:pt x="342" y="112"/>
                    <a:pt x="338" y="110"/>
                  </a:cubicBezTo>
                  <a:cubicBezTo>
                    <a:pt x="333" y="108"/>
                    <a:pt x="330" y="105"/>
                    <a:pt x="328" y="100"/>
                  </a:cubicBezTo>
                  <a:cubicBezTo>
                    <a:pt x="338" y="96"/>
                    <a:pt x="338" y="96"/>
                    <a:pt x="338" y="96"/>
                  </a:cubicBezTo>
                  <a:cubicBezTo>
                    <a:pt x="340" y="99"/>
                    <a:pt x="342" y="101"/>
                    <a:pt x="344" y="102"/>
                  </a:cubicBezTo>
                  <a:cubicBezTo>
                    <a:pt x="346" y="103"/>
                    <a:pt x="349" y="103"/>
                    <a:pt x="353" y="102"/>
                  </a:cubicBezTo>
                  <a:cubicBezTo>
                    <a:pt x="356" y="101"/>
                    <a:pt x="359" y="99"/>
                    <a:pt x="360" y="97"/>
                  </a:cubicBezTo>
                  <a:cubicBezTo>
                    <a:pt x="362" y="96"/>
                    <a:pt x="362" y="94"/>
                    <a:pt x="362" y="92"/>
                  </a:cubicBezTo>
                  <a:cubicBezTo>
                    <a:pt x="361" y="91"/>
                    <a:pt x="361" y="90"/>
                    <a:pt x="360" y="89"/>
                  </a:cubicBezTo>
                  <a:cubicBezTo>
                    <a:pt x="359" y="89"/>
                    <a:pt x="357" y="88"/>
                    <a:pt x="355" y="88"/>
                  </a:cubicBezTo>
                  <a:cubicBezTo>
                    <a:pt x="354" y="88"/>
                    <a:pt x="351" y="88"/>
                    <a:pt x="346" y="88"/>
                  </a:cubicBezTo>
                  <a:cubicBezTo>
                    <a:pt x="339" y="89"/>
                    <a:pt x="335" y="88"/>
                    <a:pt x="332" y="87"/>
                  </a:cubicBezTo>
                  <a:cubicBezTo>
                    <a:pt x="328" y="85"/>
                    <a:pt x="325" y="82"/>
                    <a:pt x="324" y="78"/>
                  </a:cubicBezTo>
                  <a:cubicBezTo>
                    <a:pt x="323" y="76"/>
                    <a:pt x="323" y="73"/>
                    <a:pt x="324" y="70"/>
                  </a:cubicBezTo>
                  <a:close/>
                  <a:moveTo>
                    <a:pt x="286" y="79"/>
                  </a:moveTo>
                  <a:cubicBezTo>
                    <a:pt x="292" y="77"/>
                    <a:pt x="296" y="75"/>
                    <a:pt x="299" y="75"/>
                  </a:cubicBezTo>
                  <a:cubicBezTo>
                    <a:pt x="302" y="75"/>
                    <a:pt x="304" y="75"/>
                    <a:pt x="307" y="77"/>
                  </a:cubicBezTo>
                  <a:cubicBezTo>
                    <a:pt x="309" y="78"/>
                    <a:pt x="311" y="80"/>
                    <a:pt x="312" y="83"/>
                  </a:cubicBezTo>
                  <a:cubicBezTo>
                    <a:pt x="314" y="87"/>
                    <a:pt x="314" y="90"/>
                    <a:pt x="313" y="94"/>
                  </a:cubicBezTo>
                  <a:cubicBezTo>
                    <a:pt x="311" y="97"/>
                    <a:pt x="309" y="100"/>
                    <a:pt x="304" y="102"/>
                  </a:cubicBezTo>
                  <a:cubicBezTo>
                    <a:pt x="307" y="103"/>
                    <a:pt x="310" y="103"/>
                    <a:pt x="312" y="104"/>
                  </a:cubicBezTo>
                  <a:cubicBezTo>
                    <a:pt x="314" y="105"/>
                    <a:pt x="317" y="106"/>
                    <a:pt x="321" y="109"/>
                  </a:cubicBezTo>
                  <a:cubicBezTo>
                    <a:pt x="331" y="115"/>
                    <a:pt x="331" y="115"/>
                    <a:pt x="331" y="115"/>
                  </a:cubicBezTo>
                  <a:cubicBezTo>
                    <a:pt x="319" y="121"/>
                    <a:pt x="319" y="121"/>
                    <a:pt x="319" y="121"/>
                  </a:cubicBezTo>
                  <a:cubicBezTo>
                    <a:pt x="307" y="114"/>
                    <a:pt x="307" y="114"/>
                    <a:pt x="307" y="114"/>
                  </a:cubicBezTo>
                  <a:cubicBezTo>
                    <a:pt x="302" y="112"/>
                    <a:pt x="300" y="110"/>
                    <a:pt x="298" y="109"/>
                  </a:cubicBezTo>
                  <a:cubicBezTo>
                    <a:pt x="297" y="109"/>
                    <a:pt x="295" y="109"/>
                    <a:pt x="294" y="109"/>
                  </a:cubicBezTo>
                  <a:cubicBezTo>
                    <a:pt x="293" y="109"/>
                    <a:pt x="291" y="110"/>
                    <a:pt x="289" y="111"/>
                  </a:cubicBezTo>
                  <a:cubicBezTo>
                    <a:pt x="286" y="112"/>
                    <a:pt x="286" y="112"/>
                    <a:pt x="286" y="112"/>
                  </a:cubicBezTo>
                  <a:cubicBezTo>
                    <a:pt x="295" y="131"/>
                    <a:pt x="295" y="131"/>
                    <a:pt x="295" y="131"/>
                  </a:cubicBezTo>
                  <a:cubicBezTo>
                    <a:pt x="285" y="136"/>
                    <a:pt x="285" y="136"/>
                    <a:pt x="285" y="136"/>
                  </a:cubicBezTo>
                  <a:cubicBezTo>
                    <a:pt x="264" y="89"/>
                    <a:pt x="264" y="89"/>
                    <a:pt x="264" y="89"/>
                  </a:cubicBezTo>
                  <a:lnTo>
                    <a:pt x="286" y="79"/>
                  </a:lnTo>
                  <a:close/>
                  <a:moveTo>
                    <a:pt x="250" y="96"/>
                  </a:moveTo>
                  <a:cubicBezTo>
                    <a:pt x="255" y="104"/>
                    <a:pt x="255" y="104"/>
                    <a:pt x="255" y="104"/>
                  </a:cubicBezTo>
                  <a:cubicBezTo>
                    <a:pt x="229" y="120"/>
                    <a:pt x="229" y="120"/>
                    <a:pt x="229" y="120"/>
                  </a:cubicBezTo>
                  <a:cubicBezTo>
                    <a:pt x="235" y="130"/>
                    <a:pt x="235" y="130"/>
                    <a:pt x="235" y="130"/>
                  </a:cubicBezTo>
                  <a:cubicBezTo>
                    <a:pt x="259" y="115"/>
                    <a:pt x="259" y="115"/>
                    <a:pt x="259" y="115"/>
                  </a:cubicBezTo>
                  <a:cubicBezTo>
                    <a:pt x="264" y="122"/>
                    <a:pt x="264" y="122"/>
                    <a:pt x="264" y="122"/>
                  </a:cubicBezTo>
                  <a:cubicBezTo>
                    <a:pt x="240" y="137"/>
                    <a:pt x="240" y="137"/>
                    <a:pt x="240" y="137"/>
                  </a:cubicBezTo>
                  <a:cubicBezTo>
                    <a:pt x="247" y="149"/>
                    <a:pt x="247" y="149"/>
                    <a:pt x="247" y="149"/>
                  </a:cubicBezTo>
                  <a:cubicBezTo>
                    <a:pt x="274" y="132"/>
                    <a:pt x="274" y="132"/>
                    <a:pt x="274" y="132"/>
                  </a:cubicBezTo>
                  <a:cubicBezTo>
                    <a:pt x="278" y="139"/>
                    <a:pt x="278" y="139"/>
                    <a:pt x="278" y="139"/>
                  </a:cubicBezTo>
                  <a:cubicBezTo>
                    <a:pt x="242" y="162"/>
                    <a:pt x="242" y="162"/>
                    <a:pt x="242" y="162"/>
                  </a:cubicBezTo>
                  <a:cubicBezTo>
                    <a:pt x="214" y="119"/>
                    <a:pt x="214" y="119"/>
                    <a:pt x="214" y="119"/>
                  </a:cubicBezTo>
                  <a:lnTo>
                    <a:pt x="250" y="96"/>
                  </a:lnTo>
                  <a:close/>
                  <a:moveTo>
                    <a:pt x="175" y="151"/>
                  </a:moveTo>
                  <a:cubicBezTo>
                    <a:pt x="210" y="171"/>
                    <a:pt x="210" y="171"/>
                    <a:pt x="210" y="171"/>
                  </a:cubicBezTo>
                  <a:cubicBezTo>
                    <a:pt x="196" y="133"/>
                    <a:pt x="196" y="133"/>
                    <a:pt x="196" y="133"/>
                  </a:cubicBezTo>
                  <a:cubicBezTo>
                    <a:pt x="206" y="125"/>
                    <a:pt x="206" y="125"/>
                    <a:pt x="206" y="125"/>
                  </a:cubicBezTo>
                  <a:cubicBezTo>
                    <a:pt x="223" y="177"/>
                    <a:pt x="223" y="177"/>
                    <a:pt x="223" y="177"/>
                  </a:cubicBezTo>
                  <a:cubicBezTo>
                    <a:pt x="214" y="185"/>
                    <a:pt x="214" y="185"/>
                    <a:pt x="214" y="185"/>
                  </a:cubicBezTo>
                  <a:cubicBezTo>
                    <a:pt x="165" y="159"/>
                    <a:pt x="165" y="159"/>
                    <a:pt x="165" y="159"/>
                  </a:cubicBezTo>
                  <a:lnTo>
                    <a:pt x="175" y="151"/>
                  </a:lnTo>
                  <a:close/>
                  <a:moveTo>
                    <a:pt x="160" y="165"/>
                  </a:moveTo>
                  <a:cubicBezTo>
                    <a:pt x="197" y="201"/>
                    <a:pt x="197" y="201"/>
                    <a:pt x="197" y="201"/>
                  </a:cubicBezTo>
                  <a:cubicBezTo>
                    <a:pt x="189" y="209"/>
                    <a:pt x="189" y="209"/>
                    <a:pt x="189" y="209"/>
                  </a:cubicBezTo>
                  <a:cubicBezTo>
                    <a:pt x="152" y="174"/>
                    <a:pt x="152" y="174"/>
                    <a:pt x="152" y="174"/>
                  </a:cubicBezTo>
                  <a:lnTo>
                    <a:pt x="160" y="165"/>
                  </a:lnTo>
                  <a:close/>
                  <a:moveTo>
                    <a:pt x="121" y="211"/>
                  </a:moveTo>
                  <a:cubicBezTo>
                    <a:pt x="163" y="214"/>
                    <a:pt x="163" y="214"/>
                    <a:pt x="163" y="214"/>
                  </a:cubicBezTo>
                  <a:cubicBezTo>
                    <a:pt x="135" y="193"/>
                    <a:pt x="135" y="193"/>
                    <a:pt x="135" y="193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82" y="216"/>
                    <a:pt x="182" y="216"/>
                    <a:pt x="182" y="216"/>
                  </a:cubicBezTo>
                  <a:cubicBezTo>
                    <a:pt x="175" y="225"/>
                    <a:pt x="175" y="225"/>
                    <a:pt x="175" y="225"/>
                  </a:cubicBezTo>
                  <a:cubicBezTo>
                    <a:pt x="134" y="222"/>
                    <a:pt x="134" y="222"/>
                    <a:pt x="134" y="222"/>
                  </a:cubicBezTo>
                  <a:cubicBezTo>
                    <a:pt x="161" y="243"/>
                    <a:pt x="161" y="243"/>
                    <a:pt x="161" y="243"/>
                  </a:cubicBezTo>
                  <a:cubicBezTo>
                    <a:pt x="155" y="252"/>
                    <a:pt x="155" y="252"/>
                    <a:pt x="155" y="252"/>
                  </a:cubicBezTo>
                  <a:cubicBezTo>
                    <a:pt x="114" y="220"/>
                    <a:pt x="114" y="220"/>
                    <a:pt x="114" y="220"/>
                  </a:cubicBezTo>
                  <a:lnTo>
                    <a:pt x="121" y="211"/>
                  </a:lnTo>
                  <a:close/>
                  <a:moveTo>
                    <a:pt x="88" y="264"/>
                  </a:moveTo>
                  <a:cubicBezTo>
                    <a:pt x="112" y="278"/>
                    <a:pt x="112" y="278"/>
                    <a:pt x="112" y="278"/>
                  </a:cubicBezTo>
                  <a:cubicBezTo>
                    <a:pt x="116" y="280"/>
                    <a:pt x="119" y="281"/>
                    <a:pt x="120" y="281"/>
                  </a:cubicBezTo>
                  <a:cubicBezTo>
                    <a:pt x="122" y="282"/>
                    <a:pt x="124" y="282"/>
                    <a:pt x="126" y="281"/>
                  </a:cubicBezTo>
                  <a:cubicBezTo>
                    <a:pt x="128" y="280"/>
                    <a:pt x="130" y="278"/>
                    <a:pt x="132" y="275"/>
                  </a:cubicBezTo>
                  <a:cubicBezTo>
                    <a:pt x="133" y="272"/>
                    <a:pt x="134" y="270"/>
                    <a:pt x="134" y="268"/>
                  </a:cubicBezTo>
                  <a:cubicBezTo>
                    <a:pt x="134" y="266"/>
                    <a:pt x="133" y="264"/>
                    <a:pt x="131" y="263"/>
                  </a:cubicBezTo>
                  <a:cubicBezTo>
                    <a:pt x="130" y="262"/>
                    <a:pt x="127" y="260"/>
                    <a:pt x="124" y="258"/>
                  </a:cubicBezTo>
                  <a:cubicBezTo>
                    <a:pt x="99" y="244"/>
                    <a:pt x="99" y="244"/>
                    <a:pt x="99" y="244"/>
                  </a:cubicBezTo>
                  <a:cubicBezTo>
                    <a:pt x="104" y="234"/>
                    <a:pt x="104" y="234"/>
                    <a:pt x="104" y="234"/>
                  </a:cubicBezTo>
                  <a:cubicBezTo>
                    <a:pt x="128" y="248"/>
                    <a:pt x="128" y="248"/>
                    <a:pt x="128" y="248"/>
                  </a:cubicBezTo>
                  <a:cubicBezTo>
                    <a:pt x="134" y="251"/>
                    <a:pt x="137" y="253"/>
                    <a:pt x="139" y="255"/>
                  </a:cubicBezTo>
                  <a:cubicBezTo>
                    <a:pt x="141" y="257"/>
                    <a:pt x="142" y="259"/>
                    <a:pt x="143" y="261"/>
                  </a:cubicBezTo>
                  <a:cubicBezTo>
                    <a:pt x="144" y="263"/>
                    <a:pt x="144" y="266"/>
                    <a:pt x="144" y="269"/>
                  </a:cubicBezTo>
                  <a:cubicBezTo>
                    <a:pt x="143" y="272"/>
                    <a:pt x="142" y="275"/>
                    <a:pt x="140" y="279"/>
                  </a:cubicBezTo>
                  <a:cubicBezTo>
                    <a:pt x="137" y="284"/>
                    <a:pt x="134" y="287"/>
                    <a:pt x="132" y="289"/>
                  </a:cubicBezTo>
                  <a:cubicBezTo>
                    <a:pt x="130" y="291"/>
                    <a:pt x="127" y="292"/>
                    <a:pt x="125" y="293"/>
                  </a:cubicBezTo>
                  <a:cubicBezTo>
                    <a:pt x="123" y="293"/>
                    <a:pt x="120" y="293"/>
                    <a:pt x="118" y="293"/>
                  </a:cubicBezTo>
                  <a:cubicBezTo>
                    <a:pt x="115" y="292"/>
                    <a:pt x="111" y="290"/>
                    <a:pt x="106" y="287"/>
                  </a:cubicBezTo>
                  <a:cubicBezTo>
                    <a:pt x="82" y="274"/>
                    <a:pt x="82" y="274"/>
                    <a:pt x="82" y="274"/>
                  </a:cubicBezTo>
                  <a:lnTo>
                    <a:pt x="88" y="264"/>
                  </a:lnTo>
                  <a:close/>
                  <a:moveTo>
                    <a:pt x="45" y="402"/>
                  </a:moveTo>
                  <a:cubicBezTo>
                    <a:pt x="82" y="384"/>
                    <a:pt x="82" y="384"/>
                    <a:pt x="82" y="384"/>
                  </a:cubicBezTo>
                  <a:cubicBezTo>
                    <a:pt x="48" y="379"/>
                    <a:pt x="48" y="379"/>
                    <a:pt x="48" y="379"/>
                  </a:cubicBezTo>
                  <a:cubicBezTo>
                    <a:pt x="50" y="368"/>
                    <a:pt x="50" y="368"/>
                    <a:pt x="50" y="368"/>
                  </a:cubicBezTo>
                  <a:cubicBezTo>
                    <a:pt x="101" y="376"/>
                    <a:pt x="101" y="376"/>
                    <a:pt x="101" y="376"/>
                  </a:cubicBezTo>
                  <a:cubicBezTo>
                    <a:pt x="99" y="387"/>
                    <a:pt x="99" y="387"/>
                    <a:pt x="99" y="387"/>
                  </a:cubicBezTo>
                  <a:cubicBezTo>
                    <a:pt x="62" y="405"/>
                    <a:pt x="62" y="405"/>
                    <a:pt x="62" y="405"/>
                  </a:cubicBezTo>
                  <a:cubicBezTo>
                    <a:pt x="95" y="410"/>
                    <a:pt x="95" y="410"/>
                    <a:pt x="95" y="410"/>
                  </a:cubicBezTo>
                  <a:cubicBezTo>
                    <a:pt x="94" y="421"/>
                    <a:pt x="94" y="421"/>
                    <a:pt x="94" y="421"/>
                  </a:cubicBezTo>
                  <a:cubicBezTo>
                    <a:pt x="43" y="413"/>
                    <a:pt x="43" y="413"/>
                    <a:pt x="43" y="413"/>
                  </a:cubicBezTo>
                  <a:lnTo>
                    <a:pt x="45" y="402"/>
                  </a:lnTo>
                  <a:close/>
                  <a:moveTo>
                    <a:pt x="42" y="427"/>
                  </a:moveTo>
                  <a:cubicBezTo>
                    <a:pt x="94" y="430"/>
                    <a:pt x="94" y="430"/>
                    <a:pt x="94" y="430"/>
                  </a:cubicBezTo>
                  <a:cubicBezTo>
                    <a:pt x="93" y="441"/>
                    <a:pt x="93" y="441"/>
                    <a:pt x="93" y="441"/>
                  </a:cubicBezTo>
                  <a:cubicBezTo>
                    <a:pt x="42" y="439"/>
                    <a:pt x="42" y="439"/>
                    <a:pt x="42" y="439"/>
                  </a:cubicBezTo>
                  <a:lnTo>
                    <a:pt x="42" y="427"/>
                  </a:lnTo>
                  <a:close/>
                  <a:moveTo>
                    <a:pt x="43" y="487"/>
                  </a:moveTo>
                  <a:cubicBezTo>
                    <a:pt x="63" y="486"/>
                    <a:pt x="63" y="486"/>
                    <a:pt x="63" y="486"/>
                  </a:cubicBezTo>
                  <a:cubicBezTo>
                    <a:pt x="62" y="464"/>
                    <a:pt x="62" y="464"/>
                    <a:pt x="62" y="464"/>
                  </a:cubicBezTo>
                  <a:cubicBezTo>
                    <a:pt x="42" y="465"/>
                    <a:pt x="42" y="465"/>
                    <a:pt x="42" y="465"/>
                  </a:cubicBezTo>
                  <a:cubicBezTo>
                    <a:pt x="41" y="453"/>
                    <a:pt x="41" y="453"/>
                    <a:pt x="41" y="453"/>
                  </a:cubicBezTo>
                  <a:cubicBezTo>
                    <a:pt x="92" y="450"/>
                    <a:pt x="92" y="450"/>
                    <a:pt x="92" y="450"/>
                  </a:cubicBezTo>
                  <a:cubicBezTo>
                    <a:pt x="93" y="462"/>
                    <a:pt x="93" y="462"/>
                    <a:pt x="93" y="462"/>
                  </a:cubicBezTo>
                  <a:cubicBezTo>
                    <a:pt x="71" y="463"/>
                    <a:pt x="71" y="463"/>
                    <a:pt x="71" y="463"/>
                  </a:cubicBezTo>
                  <a:cubicBezTo>
                    <a:pt x="72" y="486"/>
                    <a:pt x="72" y="486"/>
                    <a:pt x="72" y="486"/>
                  </a:cubicBezTo>
                  <a:cubicBezTo>
                    <a:pt x="94" y="484"/>
                    <a:pt x="94" y="484"/>
                    <a:pt x="94" y="484"/>
                  </a:cubicBezTo>
                  <a:cubicBezTo>
                    <a:pt x="95" y="496"/>
                    <a:pt x="95" y="496"/>
                    <a:pt x="95" y="496"/>
                  </a:cubicBezTo>
                  <a:cubicBezTo>
                    <a:pt x="43" y="499"/>
                    <a:pt x="43" y="499"/>
                    <a:pt x="43" y="499"/>
                  </a:cubicBezTo>
                  <a:lnTo>
                    <a:pt x="43" y="487"/>
                  </a:lnTo>
                  <a:close/>
                  <a:moveTo>
                    <a:pt x="98" y="546"/>
                  </a:moveTo>
                  <a:cubicBezTo>
                    <a:pt x="95" y="551"/>
                    <a:pt x="89" y="555"/>
                    <a:pt x="81" y="557"/>
                  </a:cubicBezTo>
                  <a:cubicBezTo>
                    <a:pt x="73" y="559"/>
                    <a:pt x="66" y="558"/>
                    <a:pt x="60" y="554"/>
                  </a:cubicBezTo>
                  <a:cubicBezTo>
                    <a:pt x="54" y="550"/>
                    <a:pt x="51" y="544"/>
                    <a:pt x="49" y="536"/>
                  </a:cubicBezTo>
                  <a:cubicBezTo>
                    <a:pt x="48" y="529"/>
                    <a:pt x="48" y="523"/>
                    <a:pt x="51" y="518"/>
                  </a:cubicBezTo>
                  <a:cubicBezTo>
                    <a:pt x="53" y="515"/>
                    <a:pt x="55" y="513"/>
                    <a:pt x="59" y="511"/>
                  </a:cubicBezTo>
                  <a:cubicBezTo>
                    <a:pt x="64" y="521"/>
                    <a:pt x="64" y="521"/>
                    <a:pt x="64" y="521"/>
                  </a:cubicBezTo>
                  <a:cubicBezTo>
                    <a:pt x="61" y="523"/>
                    <a:pt x="60" y="524"/>
                    <a:pt x="58" y="527"/>
                  </a:cubicBezTo>
                  <a:cubicBezTo>
                    <a:pt x="57" y="529"/>
                    <a:pt x="57" y="532"/>
                    <a:pt x="58" y="535"/>
                  </a:cubicBezTo>
                  <a:cubicBezTo>
                    <a:pt x="59" y="539"/>
                    <a:pt x="61" y="542"/>
                    <a:pt x="64" y="544"/>
                  </a:cubicBezTo>
                  <a:cubicBezTo>
                    <a:pt x="67" y="546"/>
                    <a:pt x="72" y="547"/>
                    <a:pt x="78" y="545"/>
                  </a:cubicBezTo>
                  <a:cubicBezTo>
                    <a:pt x="84" y="544"/>
                    <a:pt x="89" y="542"/>
                    <a:pt x="91" y="539"/>
                  </a:cubicBezTo>
                  <a:cubicBezTo>
                    <a:pt x="93" y="536"/>
                    <a:pt x="94" y="532"/>
                    <a:pt x="93" y="528"/>
                  </a:cubicBezTo>
                  <a:cubicBezTo>
                    <a:pt x="92" y="525"/>
                    <a:pt x="91" y="522"/>
                    <a:pt x="89" y="521"/>
                  </a:cubicBezTo>
                  <a:cubicBezTo>
                    <a:pt x="86" y="519"/>
                    <a:pt x="83" y="518"/>
                    <a:pt x="79" y="518"/>
                  </a:cubicBezTo>
                  <a:cubicBezTo>
                    <a:pt x="80" y="506"/>
                    <a:pt x="80" y="506"/>
                    <a:pt x="80" y="506"/>
                  </a:cubicBezTo>
                  <a:cubicBezTo>
                    <a:pt x="86" y="507"/>
                    <a:pt x="91" y="509"/>
                    <a:pt x="94" y="512"/>
                  </a:cubicBezTo>
                  <a:cubicBezTo>
                    <a:pt x="98" y="515"/>
                    <a:pt x="100" y="520"/>
                    <a:pt x="101" y="526"/>
                  </a:cubicBezTo>
                  <a:cubicBezTo>
                    <a:pt x="103" y="533"/>
                    <a:pt x="102" y="540"/>
                    <a:pt x="98" y="546"/>
                  </a:cubicBezTo>
                  <a:close/>
                  <a:moveTo>
                    <a:pt x="115" y="330"/>
                  </a:moveTo>
                  <a:cubicBezTo>
                    <a:pt x="102" y="331"/>
                    <a:pt x="102" y="331"/>
                    <a:pt x="102" y="331"/>
                  </a:cubicBezTo>
                  <a:cubicBezTo>
                    <a:pt x="95" y="353"/>
                    <a:pt x="95" y="353"/>
                    <a:pt x="95" y="353"/>
                  </a:cubicBezTo>
                  <a:cubicBezTo>
                    <a:pt x="105" y="361"/>
                    <a:pt x="105" y="361"/>
                    <a:pt x="105" y="361"/>
                  </a:cubicBezTo>
                  <a:cubicBezTo>
                    <a:pt x="101" y="373"/>
                    <a:pt x="101" y="373"/>
                    <a:pt x="101" y="373"/>
                  </a:cubicBezTo>
                  <a:cubicBezTo>
                    <a:pt x="59" y="336"/>
                    <a:pt x="59" y="336"/>
                    <a:pt x="59" y="336"/>
                  </a:cubicBezTo>
                  <a:cubicBezTo>
                    <a:pt x="62" y="324"/>
                    <a:pt x="62" y="324"/>
                    <a:pt x="62" y="324"/>
                  </a:cubicBezTo>
                  <a:cubicBezTo>
                    <a:pt x="118" y="318"/>
                    <a:pt x="118" y="318"/>
                    <a:pt x="118" y="318"/>
                  </a:cubicBezTo>
                  <a:lnTo>
                    <a:pt x="115" y="330"/>
                  </a:lnTo>
                  <a:close/>
                  <a:moveTo>
                    <a:pt x="252" y="762"/>
                  </a:moveTo>
                  <a:cubicBezTo>
                    <a:pt x="252" y="763"/>
                    <a:pt x="251" y="764"/>
                    <a:pt x="250" y="764"/>
                  </a:cubicBezTo>
                  <a:cubicBezTo>
                    <a:pt x="248" y="765"/>
                    <a:pt x="239" y="763"/>
                    <a:pt x="238" y="764"/>
                  </a:cubicBezTo>
                  <a:cubicBezTo>
                    <a:pt x="233" y="764"/>
                    <a:pt x="232" y="764"/>
                    <a:pt x="231" y="766"/>
                  </a:cubicBezTo>
                  <a:cubicBezTo>
                    <a:pt x="231" y="767"/>
                    <a:pt x="231" y="770"/>
                    <a:pt x="229" y="770"/>
                  </a:cubicBezTo>
                  <a:cubicBezTo>
                    <a:pt x="227" y="769"/>
                    <a:pt x="222" y="768"/>
                    <a:pt x="219" y="768"/>
                  </a:cubicBezTo>
                  <a:cubicBezTo>
                    <a:pt x="218" y="768"/>
                    <a:pt x="217" y="768"/>
                    <a:pt x="216" y="768"/>
                  </a:cubicBezTo>
                  <a:cubicBezTo>
                    <a:pt x="205" y="781"/>
                    <a:pt x="197" y="792"/>
                    <a:pt x="185" y="804"/>
                  </a:cubicBezTo>
                  <a:cubicBezTo>
                    <a:pt x="185" y="804"/>
                    <a:pt x="183" y="805"/>
                    <a:pt x="183" y="805"/>
                  </a:cubicBezTo>
                  <a:cubicBezTo>
                    <a:pt x="191" y="792"/>
                    <a:pt x="199" y="779"/>
                    <a:pt x="208" y="766"/>
                  </a:cubicBezTo>
                  <a:cubicBezTo>
                    <a:pt x="209" y="764"/>
                    <a:pt x="208" y="763"/>
                    <a:pt x="208" y="763"/>
                  </a:cubicBezTo>
                  <a:cubicBezTo>
                    <a:pt x="207" y="761"/>
                    <a:pt x="210" y="758"/>
                    <a:pt x="212" y="758"/>
                  </a:cubicBezTo>
                  <a:cubicBezTo>
                    <a:pt x="212" y="758"/>
                    <a:pt x="213" y="758"/>
                    <a:pt x="214" y="758"/>
                  </a:cubicBezTo>
                  <a:cubicBezTo>
                    <a:pt x="219" y="750"/>
                    <a:pt x="219" y="750"/>
                    <a:pt x="221" y="747"/>
                  </a:cubicBezTo>
                  <a:cubicBezTo>
                    <a:pt x="219" y="746"/>
                    <a:pt x="211" y="743"/>
                    <a:pt x="213" y="741"/>
                  </a:cubicBezTo>
                  <a:cubicBezTo>
                    <a:pt x="214" y="741"/>
                    <a:pt x="216" y="741"/>
                    <a:pt x="218" y="741"/>
                  </a:cubicBezTo>
                  <a:cubicBezTo>
                    <a:pt x="220" y="742"/>
                    <a:pt x="222" y="742"/>
                    <a:pt x="223" y="743"/>
                  </a:cubicBezTo>
                  <a:cubicBezTo>
                    <a:pt x="227" y="739"/>
                    <a:pt x="229" y="736"/>
                    <a:pt x="231" y="731"/>
                  </a:cubicBezTo>
                  <a:cubicBezTo>
                    <a:pt x="231" y="730"/>
                    <a:pt x="234" y="726"/>
                    <a:pt x="233" y="726"/>
                  </a:cubicBezTo>
                  <a:cubicBezTo>
                    <a:pt x="233" y="724"/>
                    <a:pt x="233" y="724"/>
                    <a:pt x="233" y="723"/>
                  </a:cubicBezTo>
                  <a:cubicBezTo>
                    <a:pt x="237" y="725"/>
                    <a:pt x="239" y="727"/>
                    <a:pt x="239" y="731"/>
                  </a:cubicBezTo>
                  <a:cubicBezTo>
                    <a:pt x="239" y="731"/>
                    <a:pt x="239" y="734"/>
                    <a:pt x="239" y="735"/>
                  </a:cubicBezTo>
                  <a:cubicBezTo>
                    <a:pt x="236" y="738"/>
                    <a:pt x="234" y="742"/>
                    <a:pt x="231" y="745"/>
                  </a:cubicBezTo>
                  <a:cubicBezTo>
                    <a:pt x="232" y="746"/>
                    <a:pt x="233" y="746"/>
                    <a:pt x="234" y="746"/>
                  </a:cubicBezTo>
                  <a:cubicBezTo>
                    <a:pt x="237" y="748"/>
                    <a:pt x="239" y="748"/>
                    <a:pt x="242" y="750"/>
                  </a:cubicBezTo>
                  <a:cubicBezTo>
                    <a:pt x="243" y="749"/>
                    <a:pt x="244" y="750"/>
                    <a:pt x="244" y="749"/>
                  </a:cubicBezTo>
                  <a:cubicBezTo>
                    <a:pt x="252" y="753"/>
                    <a:pt x="253" y="761"/>
                    <a:pt x="252" y="762"/>
                  </a:cubicBezTo>
                  <a:close/>
                  <a:moveTo>
                    <a:pt x="189" y="735"/>
                  </a:moveTo>
                  <a:cubicBezTo>
                    <a:pt x="192" y="737"/>
                    <a:pt x="195" y="739"/>
                    <a:pt x="196" y="742"/>
                  </a:cubicBezTo>
                  <a:cubicBezTo>
                    <a:pt x="197" y="743"/>
                    <a:pt x="201" y="748"/>
                    <a:pt x="203" y="754"/>
                  </a:cubicBezTo>
                  <a:cubicBezTo>
                    <a:pt x="204" y="757"/>
                    <a:pt x="205" y="758"/>
                    <a:pt x="204" y="761"/>
                  </a:cubicBezTo>
                  <a:cubicBezTo>
                    <a:pt x="199" y="758"/>
                    <a:pt x="200" y="757"/>
                    <a:pt x="198" y="752"/>
                  </a:cubicBezTo>
                  <a:cubicBezTo>
                    <a:pt x="198" y="750"/>
                    <a:pt x="197" y="748"/>
                    <a:pt x="193" y="744"/>
                  </a:cubicBezTo>
                  <a:cubicBezTo>
                    <a:pt x="193" y="742"/>
                    <a:pt x="189" y="738"/>
                    <a:pt x="189" y="735"/>
                  </a:cubicBezTo>
                  <a:close/>
                  <a:moveTo>
                    <a:pt x="262" y="820"/>
                  </a:moveTo>
                  <a:cubicBezTo>
                    <a:pt x="262" y="818"/>
                    <a:pt x="260" y="817"/>
                    <a:pt x="260" y="815"/>
                  </a:cubicBezTo>
                  <a:cubicBezTo>
                    <a:pt x="266" y="807"/>
                    <a:pt x="274" y="789"/>
                    <a:pt x="281" y="779"/>
                  </a:cubicBezTo>
                  <a:cubicBezTo>
                    <a:pt x="282" y="777"/>
                    <a:pt x="283" y="776"/>
                    <a:pt x="284" y="776"/>
                  </a:cubicBezTo>
                  <a:cubicBezTo>
                    <a:pt x="284" y="777"/>
                    <a:pt x="285" y="777"/>
                    <a:pt x="283" y="781"/>
                  </a:cubicBezTo>
                  <a:cubicBezTo>
                    <a:pt x="283" y="782"/>
                    <a:pt x="263" y="819"/>
                    <a:pt x="265" y="821"/>
                  </a:cubicBezTo>
                  <a:cubicBezTo>
                    <a:pt x="263" y="821"/>
                    <a:pt x="263" y="821"/>
                    <a:pt x="262" y="820"/>
                  </a:cubicBezTo>
                  <a:close/>
                  <a:moveTo>
                    <a:pt x="289" y="829"/>
                  </a:moveTo>
                  <a:cubicBezTo>
                    <a:pt x="288" y="830"/>
                    <a:pt x="288" y="830"/>
                    <a:pt x="287" y="830"/>
                  </a:cubicBezTo>
                  <a:cubicBezTo>
                    <a:pt x="286" y="830"/>
                    <a:pt x="284" y="829"/>
                    <a:pt x="282" y="828"/>
                  </a:cubicBezTo>
                  <a:cubicBezTo>
                    <a:pt x="280" y="826"/>
                    <a:pt x="275" y="818"/>
                    <a:pt x="276" y="816"/>
                  </a:cubicBezTo>
                  <a:cubicBezTo>
                    <a:pt x="276" y="816"/>
                    <a:pt x="276" y="816"/>
                    <a:pt x="276" y="816"/>
                  </a:cubicBezTo>
                  <a:cubicBezTo>
                    <a:pt x="278" y="822"/>
                    <a:pt x="286" y="820"/>
                    <a:pt x="294" y="818"/>
                  </a:cubicBezTo>
                  <a:cubicBezTo>
                    <a:pt x="300" y="816"/>
                    <a:pt x="305" y="813"/>
                    <a:pt x="305" y="812"/>
                  </a:cubicBezTo>
                  <a:cubicBezTo>
                    <a:pt x="305" y="811"/>
                    <a:pt x="305" y="810"/>
                    <a:pt x="304" y="809"/>
                  </a:cubicBezTo>
                  <a:cubicBezTo>
                    <a:pt x="304" y="810"/>
                    <a:pt x="301" y="811"/>
                    <a:pt x="297" y="812"/>
                  </a:cubicBezTo>
                  <a:cubicBezTo>
                    <a:pt x="288" y="814"/>
                    <a:pt x="275" y="816"/>
                    <a:pt x="273" y="815"/>
                  </a:cubicBezTo>
                  <a:cubicBezTo>
                    <a:pt x="270" y="814"/>
                    <a:pt x="270" y="813"/>
                    <a:pt x="273" y="809"/>
                  </a:cubicBezTo>
                  <a:cubicBezTo>
                    <a:pt x="279" y="807"/>
                    <a:pt x="290" y="805"/>
                    <a:pt x="297" y="802"/>
                  </a:cubicBezTo>
                  <a:cubicBezTo>
                    <a:pt x="297" y="801"/>
                    <a:pt x="299" y="801"/>
                    <a:pt x="298" y="799"/>
                  </a:cubicBezTo>
                  <a:cubicBezTo>
                    <a:pt x="295" y="800"/>
                    <a:pt x="286" y="801"/>
                    <a:pt x="284" y="801"/>
                  </a:cubicBezTo>
                  <a:cubicBezTo>
                    <a:pt x="281" y="798"/>
                    <a:pt x="283" y="795"/>
                    <a:pt x="284" y="792"/>
                  </a:cubicBezTo>
                  <a:cubicBezTo>
                    <a:pt x="285" y="792"/>
                    <a:pt x="284" y="792"/>
                    <a:pt x="285" y="792"/>
                  </a:cubicBezTo>
                  <a:cubicBezTo>
                    <a:pt x="287" y="794"/>
                    <a:pt x="294" y="792"/>
                    <a:pt x="295" y="791"/>
                  </a:cubicBezTo>
                  <a:cubicBezTo>
                    <a:pt x="294" y="789"/>
                    <a:pt x="292" y="784"/>
                    <a:pt x="293" y="785"/>
                  </a:cubicBezTo>
                  <a:cubicBezTo>
                    <a:pt x="295" y="786"/>
                    <a:pt x="295" y="787"/>
                    <a:pt x="298" y="787"/>
                  </a:cubicBezTo>
                  <a:cubicBezTo>
                    <a:pt x="298" y="787"/>
                    <a:pt x="299" y="787"/>
                    <a:pt x="298" y="787"/>
                  </a:cubicBezTo>
                  <a:cubicBezTo>
                    <a:pt x="297" y="786"/>
                    <a:pt x="295" y="785"/>
                    <a:pt x="295" y="784"/>
                  </a:cubicBezTo>
                  <a:cubicBezTo>
                    <a:pt x="296" y="782"/>
                    <a:pt x="298" y="782"/>
                    <a:pt x="299" y="783"/>
                  </a:cubicBezTo>
                  <a:cubicBezTo>
                    <a:pt x="301" y="784"/>
                    <a:pt x="308" y="789"/>
                    <a:pt x="308" y="789"/>
                  </a:cubicBezTo>
                  <a:cubicBezTo>
                    <a:pt x="309" y="790"/>
                    <a:pt x="309" y="790"/>
                    <a:pt x="309" y="790"/>
                  </a:cubicBezTo>
                  <a:cubicBezTo>
                    <a:pt x="310" y="791"/>
                    <a:pt x="310" y="792"/>
                    <a:pt x="310" y="793"/>
                  </a:cubicBezTo>
                  <a:cubicBezTo>
                    <a:pt x="310" y="796"/>
                    <a:pt x="308" y="797"/>
                    <a:pt x="305" y="797"/>
                  </a:cubicBezTo>
                  <a:cubicBezTo>
                    <a:pt x="306" y="802"/>
                    <a:pt x="306" y="806"/>
                    <a:pt x="309" y="811"/>
                  </a:cubicBezTo>
                  <a:cubicBezTo>
                    <a:pt x="311" y="809"/>
                    <a:pt x="313" y="809"/>
                    <a:pt x="313" y="808"/>
                  </a:cubicBezTo>
                  <a:cubicBezTo>
                    <a:pt x="316" y="810"/>
                    <a:pt x="317" y="811"/>
                    <a:pt x="317" y="814"/>
                  </a:cubicBezTo>
                  <a:cubicBezTo>
                    <a:pt x="315" y="818"/>
                    <a:pt x="310" y="817"/>
                    <a:pt x="309" y="819"/>
                  </a:cubicBezTo>
                  <a:cubicBezTo>
                    <a:pt x="308" y="823"/>
                    <a:pt x="309" y="831"/>
                    <a:pt x="307" y="834"/>
                  </a:cubicBezTo>
                  <a:cubicBezTo>
                    <a:pt x="307" y="835"/>
                    <a:pt x="306" y="835"/>
                    <a:pt x="305" y="834"/>
                  </a:cubicBezTo>
                  <a:cubicBezTo>
                    <a:pt x="304" y="831"/>
                    <a:pt x="305" y="824"/>
                    <a:pt x="305" y="820"/>
                  </a:cubicBezTo>
                  <a:cubicBezTo>
                    <a:pt x="303" y="821"/>
                    <a:pt x="299" y="823"/>
                    <a:pt x="295" y="823"/>
                  </a:cubicBezTo>
                  <a:cubicBezTo>
                    <a:pt x="295" y="824"/>
                    <a:pt x="295" y="824"/>
                    <a:pt x="295" y="825"/>
                  </a:cubicBezTo>
                  <a:cubicBezTo>
                    <a:pt x="297" y="826"/>
                    <a:pt x="297" y="827"/>
                    <a:pt x="298" y="828"/>
                  </a:cubicBezTo>
                  <a:cubicBezTo>
                    <a:pt x="298" y="829"/>
                    <a:pt x="296" y="830"/>
                    <a:pt x="296" y="831"/>
                  </a:cubicBezTo>
                  <a:cubicBezTo>
                    <a:pt x="295" y="831"/>
                    <a:pt x="293" y="830"/>
                    <a:pt x="291" y="829"/>
                  </a:cubicBezTo>
                  <a:cubicBezTo>
                    <a:pt x="290" y="829"/>
                    <a:pt x="289" y="829"/>
                    <a:pt x="289" y="829"/>
                  </a:cubicBezTo>
                  <a:close/>
                  <a:moveTo>
                    <a:pt x="317" y="787"/>
                  </a:moveTo>
                  <a:cubicBezTo>
                    <a:pt x="317" y="785"/>
                    <a:pt x="319" y="786"/>
                    <a:pt x="320" y="786"/>
                  </a:cubicBezTo>
                  <a:cubicBezTo>
                    <a:pt x="323" y="788"/>
                    <a:pt x="325" y="789"/>
                    <a:pt x="326" y="794"/>
                  </a:cubicBezTo>
                  <a:cubicBezTo>
                    <a:pt x="326" y="795"/>
                    <a:pt x="326" y="796"/>
                    <a:pt x="325" y="798"/>
                  </a:cubicBezTo>
                  <a:cubicBezTo>
                    <a:pt x="323" y="798"/>
                    <a:pt x="319" y="798"/>
                    <a:pt x="319" y="795"/>
                  </a:cubicBezTo>
                  <a:cubicBezTo>
                    <a:pt x="318" y="793"/>
                    <a:pt x="316" y="788"/>
                    <a:pt x="317" y="787"/>
                  </a:cubicBezTo>
                  <a:close/>
                  <a:moveTo>
                    <a:pt x="341" y="802"/>
                  </a:moveTo>
                  <a:cubicBezTo>
                    <a:pt x="334" y="803"/>
                    <a:pt x="319" y="845"/>
                    <a:pt x="312" y="854"/>
                  </a:cubicBezTo>
                  <a:cubicBezTo>
                    <a:pt x="308" y="861"/>
                    <a:pt x="306" y="861"/>
                    <a:pt x="303" y="858"/>
                  </a:cubicBezTo>
                  <a:cubicBezTo>
                    <a:pt x="299" y="854"/>
                    <a:pt x="294" y="836"/>
                    <a:pt x="295" y="832"/>
                  </a:cubicBezTo>
                  <a:cubicBezTo>
                    <a:pt x="296" y="833"/>
                    <a:pt x="297" y="836"/>
                    <a:pt x="297" y="837"/>
                  </a:cubicBezTo>
                  <a:cubicBezTo>
                    <a:pt x="298" y="836"/>
                    <a:pt x="297" y="836"/>
                    <a:pt x="298" y="835"/>
                  </a:cubicBezTo>
                  <a:cubicBezTo>
                    <a:pt x="299" y="838"/>
                    <a:pt x="303" y="846"/>
                    <a:pt x="304" y="847"/>
                  </a:cubicBezTo>
                  <a:cubicBezTo>
                    <a:pt x="307" y="849"/>
                    <a:pt x="308" y="844"/>
                    <a:pt x="310" y="842"/>
                  </a:cubicBezTo>
                  <a:cubicBezTo>
                    <a:pt x="314" y="834"/>
                    <a:pt x="325" y="807"/>
                    <a:pt x="329" y="799"/>
                  </a:cubicBezTo>
                  <a:cubicBezTo>
                    <a:pt x="332" y="794"/>
                    <a:pt x="334" y="789"/>
                    <a:pt x="331" y="786"/>
                  </a:cubicBezTo>
                  <a:cubicBezTo>
                    <a:pt x="320" y="780"/>
                    <a:pt x="306" y="784"/>
                    <a:pt x="296" y="778"/>
                  </a:cubicBezTo>
                  <a:cubicBezTo>
                    <a:pt x="296" y="778"/>
                    <a:pt x="296" y="778"/>
                    <a:pt x="296" y="778"/>
                  </a:cubicBezTo>
                  <a:cubicBezTo>
                    <a:pt x="302" y="776"/>
                    <a:pt x="328" y="782"/>
                    <a:pt x="328" y="782"/>
                  </a:cubicBezTo>
                  <a:cubicBezTo>
                    <a:pt x="336" y="784"/>
                    <a:pt x="346" y="792"/>
                    <a:pt x="341" y="802"/>
                  </a:cubicBezTo>
                  <a:close/>
                  <a:moveTo>
                    <a:pt x="365" y="858"/>
                  </a:moveTo>
                  <a:cubicBezTo>
                    <a:pt x="365" y="858"/>
                    <a:pt x="363" y="859"/>
                    <a:pt x="362" y="859"/>
                  </a:cubicBezTo>
                  <a:cubicBezTo>
                    <a:pt x="362" y="859"/>
                    <a:pt x="362" y="860"/>
                    <a:pt x="360" y="861"/>
                  </a:cubicBezTo>
                  <a:cubicBezTo>
                    <a:pt x="360" y="861"/>
                    <a:pt x="358" y="862"/>
                    <a:pt x="356" y="861"/>
                  </a:cubicBezTo>
                  <a:cubicBezTo>
                    <a:pt x="356" y="861"/>
                    <a:pt x="355" y="860"/>
                    <a:pt x="354" y="860"/>
                  </a:cubicBezTo>
                  <a:cubicBezTo>
                    <a:pt x="354" y="860"/>
                    <a:pt x="352" y="859"/>
                    <a:pt x="351" y="859"/>
                  </a:cubicBezTo>
                  <a:cubicBezTo>
                    <a:pt x="351" y="859"/>
                    <a:pt x="349" y="859"/>
                    <a:pt x="352" y="858"/>
                  </a:cubicBezTo>
                  <a:cubicBezTo>
                    <a:pt x="352" y="858"/>
                    <a:pt x="352" y="857"/>
                    <a:pt x="353" y="857"/>
                  </a:cubicBezTo>
                  <a:cubicBezTo>
                    <a:pt x="353" y="857"/>
                    <a:pt x="354" y="857"/>
                    <a:pt x="354" y="857"/>
                  </a:cubicBezTo>
                  <a:cubicBezTo>
                    <a:pt x="354" y="857"/>
                    <a:pt x="354" y="856"/>
                    <a:pt x="355" y="857"/>
                  </a:cubicBezTo>
                  <a:cubicBezTo>
                    <a:pt x="355" y="857"/>
                    <a:pt x="356" y="858"/>
                    <a:pt x="357" y="855"/>
                  </a:cubicBezTo>
                  <a:cubicBezTo>
                    <a:pt x="357" y="855"/>
                    <a:pt x="357" y="855"/>
                    <a:pt x="358" y="855"/>
                  </a:cubicBezTo>
                  <a:cubicBezTo>
                    <a:pt x="358" y="855"/>
                    <a:pt x="362" y="853"/>
                    <a:pt x="371" y="847"/>
                  </a:cubicBezTo>
                  <a:cubicBezTo>
                    <a:pt x="371" y="847"/>
                    <a:pt x="379" y="842"/>
                    <a:pt x="384" y="837"/>
                  </a:cubicBezTo>
                  <a:cubicBezTo>
                    <a:pt x="384" y="837"/>
                    <a:pt x="388" y="834"/>
                    <a:pt x="393" y="830"/>
                  </a:cubicBezTo>
                  <a:cubicBezTo>
                    <a:pt x="393" y="830"/>
                    <a:pt x="406" y="820"/>
                    <a:pt x="408" y="817"/>
                  </a:cubicBezTo>
                  <a:cubicBezTo>
                    <a:pt x="408" y="817"/>
                    <a:pt x="399" y="812"/>
                    <a:pt x="400" y="808"/>
                  </a:cubicBezTo>
                  <a:cubicBezTo>
                    <a:pt x="400" y="808"/>
                    <a:pt x="401" y="806"/>
                    <a:pt x="402" y="808"/>
                  </a:cubicBezTo>
                  <a:cubicBezTo>
                    <a:pt x="402" y="808"/>
                    <a:pt x="406" y="811"/>
                    <a:pt x="413" y="810"/>
                  </a:cubicBezTo>
                  <a:cubicBezTo>
                    <a:pt x="413" y="810"/>
                    <a:pt x="416" y="810"/>
                    <a:pt x="420" y="807"/>
                  </a:cubicBezTo>
                  <a:cubicBezTo>
                    <a:pt x="420" y="807"/>
                    <a:pt x="425" y="806"/>
                    <a:pt x="427" y="815"/>
                  </a:cubicBezTo>
                  <a:cubicBezTo>
                    <a:pt x="427" y="815"/>
                    <a:pt x="427" y="819"/>
                    <a:pt x="425" y="818"/>
                  </a:cubicBezTo>
                  <a:cubicBezTo>
                    <a:pt x="425" y="818"/>
                    <a:pt x="422" y="818"/>
                    <a:pt x="419" y="819"/>
                  </a:cubicBezTo>
                  <a:cubicBezTo>
                    <a:pt x="419" y="819"/>
                    <a:pt x="418" y="818"/>
                    <a:pt x="416" y="820"/>
                  </a:cubicBezTo>
                  <a:cubicBezTo>
                    <a:pt x="416" y="820"/>
                    <a:pt x="410" y="826"/>
                    <a:pt x="397" y="834"/>
                  </a:cubicBezTo>
                  <a:cubicBezTo>
                    <a:pt x="397" y="834"/>
                    <a:pt x="390" y="839"/>
                    <a:pt x="381" y="848"/>
                  </a:cubicBezTo>
                  <a:cubicBezTo>
                    <a:pt x="381" y="848"/>
                    <a:pt x="374" y="854"/>
                    <a:pt x="365" y="858"/>
                  </a:cubicBezTo>
                  <a:close/>
                  <a:moveTo>
                    <a:pt x="430" y="858"/>
                  </a:moveTo>
                  <a:cubicBezTo>
                    <a:pt x="430" y="858"/>
                    <a:pt x="430" y="859"/>
                    <a:pt x="430" y="860"/>
                  </a:cubicBezTo>
                  <a:cubicBezTo>
                    <a:pt x="430" y="860"/>
                    <a:pt x="430" y="862"/>
                    <a:pt x="427" y="862"/>
                  </a:cubicBezTo>
                  <a:cubicBezTo>
                    <a:pt x="427" y="862"/>
                    <a:pt x="420" y="864"/>
                    <a:pt x="419" y="866"/>
                  </a:cubicBezTo>
                  <a:cubicBezTo>
                    <a:pt x="419" y="866"/>
                    <a:pt x="415" y="869"/>
                    <a:pt x="416" y="872"/>
                  </a:cubicBezTo>
                  <a:cubicBezTo>
                    <a:pt x="416" y="872"/>
                    <a:pt x="416" y="874"/>
                    <a:pt x="413" y="875"/>
                  </a:cubicBezTo>
                  <a:cubicBezTo>
                    <a:pt x="413" y="875"/>
                    <a:pt x="411" y="875"/>
                    <a:pt x="409" y="875"/>
                  </a:cubicBezTo>
                  <a:cubicBezTo>
                    <a:pt x="409" y="875"/>
                    <a:pt x="407" y="873"/>
                    <a:pt x="404" y="875"/>
                  </a:cubicBezTo>
                  <a:cubicBezTo>
                    <a:pt x="404" y="875"/>
                    <a:pt x="404" y="876"/>
                    <a:pt x="402" y="875"/>
                  </a:cubicBezTo>
                  <a:cubicBezTo>
                    <a:pt x="402" y="875"/>
                    <a:pt x="402" y="874"/>
                    <a:pt x="401" y="874"/>
                  </a:cubicBezTo>
                  <a:cubicBezTo>
                    <a:pt x="401" y="874"/>
                    <a:pt x="400" y="873"/>
                    <a:pt x="400" y="872"/>
                  </a:cubicBezTo>
                  <a:cubicBezTo>
                    <a:pt x="400" y="872"/>
                    <a:pt x="400" y="870"/>
                    <a:pt x="398" y="869"/>
                  </a:cubicBezTo>
                  <a:cubicBezTo>
                    <a:pt x="398" y="869"/>
                    <a:pt x="397" y="869"/>
                    <a:pt x="397" y="867"/>
                  </a:cubicBezTo>
                  <a:cubicBezTo>
                    <a:pt x="397" y="867"/>
                    <a:pt x="396" y="861"/>
                    <a:pt x="395" y="858"/>
                  </a:cubicBezTo>
                  <a:cubicBezTo>
                    <a:pt x="395" y="858"/>
                    <a:pt x="394" y="855"/>
                    <a:pt x="391" y="854"/>
                  </a:cubicBezTo>
                  <a:cubicBezTo>
                    <a:pt x="391" y="854"/>
                    <a:pt x="387" y="848"/>
                    <a:pt x="389" y="848"/>
                  </a:cubicBezTo>
                  <a:cubicBezTo>
                    <a:pt x="389" y="848"/>
                    <a:pt x="393" y="848"/>
                    <a:pt x="396" y="854"/>
                  </a:cubicBezTo>
                  <a:cubicBezTo>
                    <a:pt x="396" y="854"/>
                    <a:pt x="396" y="856"/>
                    <a:pt x="396" y="858"/>
                  </a:cubicBezTo>
                  <a:cubicBezTo>
                    <a:pt x="396" y="858"/>
                    <a:pt x="397" y="859"/>
                    <a:pt x="399" y="866"/>
                  </a:cubicBezTo>
                  <a:cubicBezTo>
                    <a:pt x="399" y="866"/>
                    <a:pt x="400" y="867"/>
                    <a:pt x="400" y="865"/>
                  </a:cubicBezTo>
                  <a:cubicBezTo>
                    <a:pt x="402" y="863"/>
                    <a:pt x="402" y="863"/>
                    <a:pt x="402" y="863"/>
                  </a:cubicBezTo>
                  <a:cubicBezTo>
                    <a:pt x="402" y="863"/>
                    <a:pt x="403" y="861"/>
                    <a:pt x="404" y="862"/>
                  </a:cubicBezTo>
                  <a:cubicBezTo>
                    <a:pt x="404" y="862"/>
                    <a:pt x="404" y="863"/>
                    <a:pt x="405" y="862"/>
                  </a:cubicBezTo>
                  <a:cubicBezTo>
                    <a:pt x="405" y="862"/>
                    <a:pt x="408" y="860"/>
                    <a:pt x="410" y="858"/>
                  </a:cubicBezTo>
                  <a:cubicBezTo>
                    <a:pt x="410" y="858"/>
                    <a:pt x="413" y="856"/>
                    <a:pt x="412" y="855"/>
                  </a:cubicBezTo>
                  <a:cubicBezTo>
                    <a:pt x="412" y="855"/>
                    <a:pt x="409" y="851"/>
                    <a:pt x="408" y="850"/>
                  </a:cubicBezTo>
                  <a:cubicBezTo>
                    <a:pt x="408" y="850"/>
                    <a:pt x="405" y="848"/>
                    <a:pt x="407" y="848"/>
                  </a:cubicBezTo>
                  <a:cubicBezTo>
                    <a:pt x="407" y="848"/>
                    <a:pt x="408" y="848"/>
                    <a:pt x="411" y="849"/>
                  </a:cubicBezTo>
                  <a:cubicBezTo>
                    <a:pt x="411" y="849"/>
                    <a:pt x="417" y="850"/>
                    <a:pt x="419" y="848"/>
                  </a:cubicBezTo>
                  <a:cubicBezTo>
                    <a:pt x="419" y="848"/>
                    <a:pt x="419" y="846"/>
                    <a:pt x="421" y="847"/>
                  </a:cubicBezTo>
                  <a:cubicBezTo>
                    <a:pt x="421" y="847"/>
                    <a:pt x="424" y="850"/>
                    <a:pt x="425" y="850"/>
                  </a:cubicBezTo>
                  <a:cubicBezTo>
                    <a:pt x="425" y="850"/>
                    <a:pt x="431" y="852"/>
                    <a:pt x="430" y="858"/>
                  </a:cubicBezTo>
                  <a:close/>
                  <a:moveTo>
                    <a:pt x="485" y="876"/>
                  </a:moveTo>
                  <a:cubicBezTo>
                    <a:pt x="485" y="876"/>
                    <a:pt x="485" y="878"/>
                    <a:pt x="483" y="877"/>
                  </a:cubicBezTo>
                  <a:cubicBezTo>
                    <a:pt x="483" y="877"/>
                    <a:pt x="477" y="874"/>
                    <a:pt x="475" y="866"/>
                  </a:cubicBezTo>
                  <a:cubicBezTo>
                    <a:pt x="475" y="866"/>
                    <a:pt x="473" y="857"/>
                    <a:pt x="473" y="856"/>
                  </a:cubicBezTo>
                  <a:cubicBezTo>
                    <a:pt x="473" y="856"/>
                    <a:pt x="473" y="856"/>
                    <a:pt x="473" y="854"/>
                  </a:cubicBezTo>
                  <a:cubicBezTo>
                    <a:pt x="472" y="848"/>
                    <a:pt x="472" y="848"/>
                    <a:pt x="472" y="848"/>
                  </a:cubicBezTo>
                  <a:cubicBezTo>
                    <a:pt x="472" y="848"/>
                    <a:pt x="472" y="848"/>
                    <a:pt x="473" y="847"/>
                  </a:cubicBezTo>
                  <a:cubicBezTo>
                    <a:pt x="473" y="847"/>
                    <a:pt x="472" y="846"/>
                    <a:pt x="473" y="845"/>
                  </a:cubicBezTo>
                  <a:cubicBezTo>
                    <a:pt x="473" y="845"/>
                    <a:pt x="473" y="845"/>
                    <a:pt x="473" y="845"/>
                  </a:cubicBezTo>
                  <a:cubicBezTo>
                    <a:pt x="473" y="845"/>
                    <a:pt x="473" y="842"/>
                    <a:pt x="474" y="843"/>
                  </a:cubicBezTo>
                  <a:cubicBezTo>
                    <a:pt x="474" y="843"/>
                    <a:pt x="475" y="844"/>
                    <a:pt x="474" y="846"/>
                  </a:cubicBezTo>
                  <a:cubicBezTo>
                    <a:pt x="474" y="846"/>
                    <a:pt x="473" y="848"/>
                    <a:pt x="477" y="855"/>
                  </a:cubicBezTo>
                  <a:cubicBezTo>
                    <a:pt x="477" y="855"/>
                    <a:pt x="478" y="856"/>
                    <a:pt x="479" y="856"/>
                  </a:cubicBezTo>
                  <a:cubicBezTo>
                    <a:pt x="479" y="856"/>
                    <a:pt x="480" y="857"/>
                    <a:pt x="481" y="860"/>
                  </a:cubicBezTo>
                  <a:cubicBezTo>
                    <a:pt x="481" y="860"/>
                    <a:pt x="481" y="862"/>
                    <a:pt x="481" y="862"/>
                  </a:cubicBezTo>
                  <a:cubicBezTo>
                    <a:pt x="481" y="862"/>
                    <a:pt x="480" y="864"/>
                    <a:pt x="482" y="863"/>
                  </a:cubicBezTo>
                  <a:cubicBezTo>
                    <a:pt x="482" y="863"/>
                    <a:pt x="483" y="863"/>
                    <a:pt x="483" y="864"/>
                  </a:cubicBezTo>
                  <a:cubicBezTo>
                    <a:pt x="483" y="864"/>
                    <a:pt x="483" y="867"/>
                    <a:pt x="483" y="868"/>
                  </a:cubicBezTo>
                  <a:cubicBezTo>
                    <a:pt x="483" y="868"/>
                    <a:pt x="484" y="869"/>
                    <a:pt x="484" y="870"/>
                  </a:cubicBezTo>
                  <a:cubicBezTo>
                    <a:pt x="484" y="870"/>
                    <a:pt x="484" y="871"/>
                    <a:pt x="484" y="871"/>
                  </a:cubicBezTo>
                  <a:cubicBezTo>
                    <a:pt x="484" y="871"/>
                    <a:pt x="485" y="871"/>
                    <a:pt x="485" y="871"/>
                  </a:cubicBezTo>
                  <a:cubicBezTo>
                    <a:pt x="485" y="871"/>
                    <a:pt x="486" y="876"/>
                    <a:pt x="485" y="876"/>
                  </a:cubicBezTo>
                  <a:close/>
                  <a:moveTo>
                    <a:pt x="482" y="834"/>
                  </a:moveTo>
                  <a:cubicBezTo>
                    <a:pt x="482" y="834"/>
                    <a:pt x="481" y="833"/>
                    <a:pt x="480" y="833"/>
                  </a:cubicBezTo>
                  <a:cubicBezTo>
                    <a:pt x="480" y="833"/>
                    <a:pt x="479" y="833"/>
                    <a:pt x="478" y="833"/>
                  </a:cubicBezTo>
                  <a:cubicBezTo>
                    <a:pt x="478" y="833"/>
                    <a:pt x="476" y="833"/>
                    <a:pt x="477" y="831"/>
                  </a:cubicBezTo>
                  <a:cubicBezTo>
                    <a:pt x="477" y="831"/>
                    <a:pt x="479" y="827"/>
                    <a:pt x="478" y="823"/>
                  </a:cubicBezTo>
                  <a:cubicBezTo>
                    <a:pt x="478" y="823"/>
                    <a:pt x="478" y="822"/>
                    <a:pt x="479" y="821"/>
                  </a:cubicBezTo>
                  <a:cubicBezTo>
                    <a:pt x="479" y="821"/>
                    <a:pt x="479" y="820"/>
                    <a:pt x="480" y="821"/>
                  </a:cubicBezTo>
                  <a:cubicBezTo>
                    <a:pt x="480" y="821"/>
                    <a:pt x="485" y="828"/>
                    <a:pt x="485" y="832"/>
                  </a:cubicBezTo>
                  <a:cubicBezTo>
                    <a:pt x="485" y="832"/>
                    <a:pt x="486" y="835"/>
                    <a:pt x="482" y="834"/>
                  </a:cubicBezTo>
                  <a:close/>
                  <a:moveTo>
                    <a:pt x="540" y="838"/>
                  </a:moveTo>
                  <a:cubicBezTo>
                    <a:pt x="540" y="838"/>
                    <a:pt x="539" y="842"/>
                    <a:pt x="537" y="843"/>
                  </a:cubicBezTo>
                  <a:cubicBezTo>
                    <a:pt x="537" y="843"/>
                    <a:pt x="536" y="844"/>
                    <a:pt x="536" y="846"/>
                  </a:cubicBezTo>
                  <a:cubicBezTo>
                    <a:pt x="536" y="846"/>
                    <a:pt x="533" y="852"/>
                    <a:pt x="531" y="853"/>
                  </a:cubicBezTo>
                  <a:cubicBezTo>
                    <a:pt x="531" y="853"/>
                    <a:pt x="528" y="855"/>
                    <a:pt x="529" y="857"/>
                  </a:cubicBezTo>
                  <a:cubicBezTo>
                    <a:pt x="529" y="857"/>
                    <a:pt x="533" y="860"/>
                    <a:pt x="532" y="864"/>
                  </a:cubicBezTo>
                  <a:cubicBezTo>
                    <a:pt x="532" y="864"/>
                    <a:pt x="532" y="865"/>
                    <a:pt x="531" y="865"/>
                  </a:cubicBezTo>
                  <a:cubicBezTo>
                    <a:pt x="531" y="865"/>
                    <a:pt x="530" y="866"/>
                    <a:pt x="529" y="866"/>
                  </a:cubicBezTo>
                  <a:cubicBezTo>
                    <a:pt x="529" y="866"/>
                    <a:pt x="528" y="866"/>
                    <a:pt x="528" y="866"/>
                  </a:cubicBezTo>
                  <a:cubicBezTo>
                    <a:pt x="528" y="866"/>
                    <a:pt x="524" y="868"/>
                    <a:pt x="522" y="868"/>
                  </a:cubicBezTo>
                  <a:cubicBezTo>
                    <a:pt x="522" y="868"/>
                    <a:pt x="520" y="868"/>
                    <a:pt x="517" y="868"/>
                  </a:cubicBezTo>
                  <a:cubicBezTo>
                    <a:pt x="517" y="868"/>
                    <a:pt x="517" y="867"/>
                    <a:pt x="516" y="868"/>
                  </a:cubicBezTo>
                  <a:cubicBezTo>
                    <a:pt x="516" y="868"/>
                    <a:pt x="512" y="873"/>
                    <a:pt x="507" y="869"/>
                  </a:cubicBezTo>
                  <a:cubicBezTo>
                    <a:pt x="507" y="869"/>
                    <a:pt x="506" y="868"/>
                    <a:pt x="505" y="867"/>
                  </a:cubicBezTo>
                  <a:cubicBezTo>
                    <a:pt x="504" y="867"/>
                    <a:pt x="503" y="866"/>
                    <a:pt x="502" y="866"/>
                  </a:cubicBezTo>
                  <a:cubicBezTo>
                    <a:pt x="502" y="866"/>
                    <a:pt x="496" y="862"/>
                    <a:pt x="494" y="861"/>
                  </a:cubicBezTo>
                  <a:cubicBezTo>
                    <a:pt x="494" y="861"/>
                    <a:pt x="490" y="858"/>
                    <a:pt x="490" y="856"/>
                  </a:cubicBezTo>
                  <a:cubicBezTo>
                    <a:pt x="490" y="856"/>
                    <a:pt x="489" y="853"/>
                    <a:pt x="487" y="853"/>
                  </a:cubicBezTo>
                  <a:cubicBezTo>
                    <a:pt x="487" y="853"/>
                    <a:pt x="486" y="853"/>
                    <a:pt x="486" y="851"/>
                  </a:cubicBezTo>
                  <a:cubicBezTo>
                    <a:pt x="486" y="851"/>
                    <a:pt x="486" y="851"/>
                    <a:pt x="486" y="851"/>
                  </a:cubicBezTo>
                  <a:cubicBezTo>
                    <a:pt x="486" y="851"/>
                    <a:pt x="486" y="851"/>
                    <a:pt x="486" y="850"/>
                  </a:cubicBezTo>
                  <a:cubicBezTo>
                    <a:pt x="486" y="850"/>
                    <a:pt x="485" y="849"/>
                    <a:pt x="487" y="846"/>
                  </a:cubicBezTo>
                  <a:cubicBezTo>
                    <a:pt x="487" y="846"/>
                    <a:pt x="489" y="844"/>
                    <a:pt x="491" y="843"/>
                  </a:cubicBezTo>
                  <a:cubicBezTo>
                    <a:pt x="491" y="843"/>
                    <a:pt x="495" y="839"/>
                    <a:pt x="498" y="837"/>
                  </a:cubicBezTo>
                  <a:cubicBezTo>
                    <a:pt x="498" y="837"/>
                    <a:pt x="499" y="836"/>
                    <a:pt x="500" y="835"/>
                  </a:cubicBezTo>
                  <a:cubicBezTo>
                    <a:pt x="501" y="834"/>
                    <a:pt x="502" y="833"/>
                    <a:pt x="502" y="833"/>
                  </a:cubicBezTo>
                  <a:cubicBezTo>
                    <a:pt x="502" y="833"/>
                    <a:pt x="504" y="831"/>
                    <a:pt x="506" y="830"/>
                  </a:cubicBezTo>
                  <a:cubicBezTo>
                    <a:pt x="506" y="830"/>
                    <a:pt x="509" y="829"/>
                    <a:pt x="509" y="828"/>
                  </a:cubicBezTo>
                  <a:cubicBezTo>
                    <a:pt x="509" y="828"/>
                    <a:pt x="509" y="825"/>
                    <a:pt x="509" y="824"/>
                  </a:cubicBezTo>
                  <a:cubicBezTo>
                    <a:pt x="507" y="809"/>
                    <a:pt x="507" y="809"/>
                    <a:pt x="507" y="809"/>
                  </a:cubicBezTo>
                  <a:cubicBezTo>
                    <a:pt x="507" y="809"/>
                    <a:pt x="507" y="808"/>
                    <a:pt x="508" y="809"/>
                  </a:cubicBezTo>
                  <a:cubicBezTo>
                    <a:pt x="508" y="809"/>
                    <a:pt x="509" y="809"/>
                    <a:pt x="510" y="809"/>
                  </a:cubicBezTo>
                  <a:cubicBezTo>
                    <a:pt x="510" y="809"/>
                    <a:pt x="512" y="808"/>
                    <a:pt x="513" y="812"/>
                  </a:cubicBezTo>
                  <a:cubicBezTo>
                    <a:pt x="513" y="812"/>
                    <a:pt x="515" y="816"/>
                    <a:pt x="516" y="820"/>
                  </a:cubicBezTo>
                  <a:cubicBezTo>
                    <a:pt x="516" y="820"/>
                    <a:pt x="516" y="825"/>
                    <a:pt x="516" y="826"/>
                  </a:cubicBezTo>
                  <a:cubicBezTo>
                    <a:pt x="516" y="826"/>
                    <a:pt x="516" y="828"/>
                    <a:pt x="518" y="828"/>
                  </a:cubicBezTo>
                  <a:cubicBezTo>
                    <a:pt x="518" y="828"/>
                    <a:pt x="520" y="828"/>
                    <a:pt x="523" y="828"/>
                  </a:cubicBezTo>
                  <a:cubicBezTo>
                    <a:pt x="527" y="829"/>
                    <a:pt x="531" y="829"/>
                    <a:pt x="533" y="829"/>
                  </a:cubicBezTo>
                  <a:cubicBezTo>
                    <a:pt x="533" y="829"/>
                    <a:pt x="537" y="830"/>
                    <a:pt x="541" y="835"/>
                  </a:cubicBezTo>
                  <a:cubicBezTo>
                    <a:pt x="541" y="835"/>
                    <a:pt x="542" y="835"/>
                    <a:pt x="540" y="838"/>
                  </a:cubicBezTo>
                  <a:close/>
                  <a:moveTo>
                    <a:pt x="604" y="809"/>
                  </a:moveTo>
                  <a:cubicBezTo>
                    <a:pt x="604" y="809"/>
                    <a:pt x="603" y="809"/>
                    <a:pt x="603" y="811"/>
                  </a:cubicBezTo>
                  <a:cubicBezTo>
                    <a:pt x="603" y="811"/>
                    <a:pt x="602" y="814"/>
                    <a:pt x="603" y="816"/>
                  </a:cubicBezTo>
                  <a:cubicBezTo>
                    <a:pt x="603" y="816"/>
                    <a:pt x="603" y="818"/>
                    <a:pt x="602" y="821"/>
                  </a:cubicBezTo>
                  <a:cubicBezTo>
                    <a:pt x="602" y="821"/>
                    <a:pt x="598" y="826"/>
                    <a:pt x="601" y="831"/>
                  </a:cubicBezTo>
                  <a:cubicBezTo>
                    <a:pt x="601" y="831"/>
                    <a:pt x="604" y="834"/>
                    <a:pt x="601" y="836"/>
                  </a:cubicBezTo>
                  <a:cubicBezTo>
                    <a:pt x="601" y="836"/>
                    <a:pt x="600" y="837"/>
                    <a:pt x="599" y="840"/>
                  </a:cubicBezTo>
                  <a:cubicBezTo>
                    <a:pt x="599" y="840"/>
                    <a:pt x="599" y="842"/>
                    <a:pt x="599" y="842"/>
                  </a:cubicBezTo>
                  <a:cubicBezTo>
                    <a:pt x="599" y="842"/>
                    <a:pt x="598" y="844"/>
                    <a:pt x="598" y="845"/>
                  </a:cubicBezTo>
                  <a:cubicBezTo>
                    <a:pt x="598" y="845"/>
                    <a:pt x="598" y="847"/>
                    <a:pt x="595" y="848"/>
                  </a:cubicBezTo>
                  <a:cubicBezTo>
                    <a:pt x="595" y="848"/>
                    <a:pt x="593" y="850"/>
                    <a:pt x="592" y="851"/>
                  </a:cubicBezTo>
                  <a:cubicBezTo>
                    <a:pt x="592" y="851"/>
                    <a:pt x="591" y="853"/>
                    <a:pt x="590" y="853"/>
                  </a:cubicBezTo>
                  <a:cubicBezTo>
                    <a:pt x="590" y="853"/>
                    <a:pt x="590" y="853"/>
                    <a:pt x="590" y="854"/>
                  </a:cubicBezTo>
                  <a:cubicBezTo>
                    <a:pt x="590" y="854"/>
                    <a:pt x="589" y="856"/>
                    <a:pt x="586" y="857"/>
                  </a:cubicBezTo>
                  <a:cubicBezTo>
                    <a:pt x="586" y="857"/>
                    <a:pt x="586" y="850"/>
                    <a:pt x="586" y="848"/>
                  </a:cubicBezTo>
                  <a:cubicBezTo>
                    <a:pt x="586" y="848"/>
                    <a:pt x="586" y="845"/>
                    <a:pt x="586" y="843"/>
                  </a:cubicBezTo>
                  <a:cubicBezTo>
                    <a:pt x="586" y="843"/>
                    <a:pt x="586" y="840"/>
                    <a:pt x="588" y="840"/>
                  </a:cubicBezTo>
                  <a:cubicBezTo>
                    <a:pt x="588" y="840"/>
                    <a:pt x="588" y="841"/>
                    <a:pt x="588" y="840"/>
                  </a:cubicBezTo>
                  <a:cubicBezTo>
                    <a:pt x="588" y="840"/>
                    <a:pt x="590" y="836"/>
                    <a:pt x="590" y="835"/>
                  </a:cubicBezTo>
                  <a:cubicBezTo>
                    <a:pt x="590" y="835"/>
                    <a:pt x="588" y="834"/>
                    <a:pt x="588" y="834"/>
                  </a:cubicBezTo>
                  <a:cubicBezTo>
                    <a:pt x="588" y="834"/>
                    <a:pt x="587" y="833"/>
                    <a:pt x="587" y="832"/>
                  </a:cubicBezTo>
                  <a:cubicBezTo>
                    <a:pt x="587" y="832"/>
                    <a:pt x="587" y="832"/>
                    <a:pt x="586" y="831"/>
                  </a:cubicBezTo>
                  <a:cubicBezTo>
                    <a:pt x="586" y="831"/>
                    <a:pt x="584" y="830"/>
                    <a:pt x="584" y="831"/>
                  </a:cubicBezTo>
                  <a:cubicBezTo>
                    <a:pt x="584" y="831"/>
                    <a:pt x="584" y="831"/>
                    <a:pt x="582" y="831"/>
                  </a:cubicBezTo>
                  <a:cubicBezTo>
                    <a:pt x="582" y="831"/>
                    <a:pt x="573" y="829"/>
                    <a:pt x="577" y="827"/>
                  </a:cubicBezTo>
                  <a:cubicBezTo>
                    <a:pt x="577" y="827"/>
                    <a:pt x="582" y="827"/>
                    <a:pt x="585" y="822"/>
                  </a:cubicBezTo>
                  <a:cubicBezTo>
                    <a:pt x="585" y="822"/>
                    <a:pt x="586" y="822"/>
                    <a:pt x="587" y="814"/>
                  </a:cubicBezTo>
                  <a:cubicBezTo>
                    <a:pt x="587" y="814"/>
                    <a:pt x="587" y="813"/>
                    <a:pt x="586" y="813"/>
                  </a:cubicBezTo>
                  <a:cubicBezTo>
                    <a:pt x="586" y="813"/>
                    <a:pt x="585" y="812"/>
                    <a:pt x="586" y="812"/>
                  </a:cubicBezTo>
                  <a:cubicBezTo>
                    <a:pt x="586" y="812"/>
                    <a:pt x="586" y="811"/>
                    <a:pt x="585" y="810"/>
                  </a:cubicBezTo>
                  <a:cubicBezTo>
                    <a:pt x="585" y="810"/>
                    <a:pt x="584" y="809"/>
                    <a:pt x="585" y="808"/>
                  </a:cubicBezTo>
                  <a:cubicBezTo>
                    <a:pt x="585" y="808"/>
                    <a:pt x="585" y="807"/>
                    <a:pt x="584" y="806"/>
                  </a:cubicBezTo>
                  <a:cubicBezTo>
                    <a:pt x="584" y="806"/>
                    <a:pt x="584" y="806"/>
                    <a:pt x="584" y="805"/>
                  </a:cubicBezTo>
                  <a:cubicBezTo>
                    <a:pt x="584" y="805"/>
                    <a:pt x="584" y="805"/>
                    <a:pt x="583" y="803"/>
                  </a:cubicBezTo>
                  <a:cubicBezTo>
                    <a:pt x="583" y="803"/>
                    <a:pt x="583" y="803"/>
                    <a:pt x="584" y="802"/>
                  </a:cubicBezTo>
                  <a:cubicBezTo>
                    <a:pt x="584" y="802"/>
                    <a:pt x="585" y="803"/>
                    <a:pt x="584" y="801"/>
                  </a:cubicBezTo>
                  <a:cubicBezTo>
                    <a:pt x="584" y="801"/>
                    <a:pt x="583" y="800"/>
                    <a:pt x="582" y="799"/>
                  </a:cubicBezTo>
                  <a:cubicBezTo>
                    <a:pt x="581" y="798"/>
                    <a:pt x="581" y="798"/>
                    <a:pt x="581" y="798"/>
                  </a:cubicBezTo>
                  <a:cubicBezTo>
                    <a:pt x="577" y="791"/>
                    <a:pt x="577" y="791"/>
                    <a:pt x="577" y="791"/>
                  </a:cubicBezTo>
                  <a:cubicBezTo>
                    <a:pt x="577" y="791"/>
                    <a:pt x="574" y="788"/>
                    <a:pt x="578" y="789"/>
                  </a:cubicBezTo>
                  <a:cubicBezTo>
                    <a:pt x="578" y="789"/>
                    <a:pt x="581" y="788"/>
                    <a:pt x="584" y="789"/>
                  </a:cubicBezTo>
                  <a:cubicBezTo>
                    <a:pt x="584" y="789"/>
                    <a:pt x="587" y="789"/>
                    <a:pt x="589" y="789"/>
                  </a:cubicBezTo>
                  <a:cubicBezTo>
                    <a:pt x="589" y="789"/>
                    <a:pt x="590" y="788"/>
                    <a:pt x="591" y="792"/>
                  </a:cubicBezTo>
                  <a:cubicBezTo>
                    <a:pt x="591" y="792"/>
                    <a:pt x="593" y="795"/>
                    <a:pt x="593" y="795"/>
                  </a:cubicBezTo>
                  <a:cubicBezTo>
                    <a:pt x="593" y="795"/>
                    <a:pt x="598" y="796"/>
                    <a:pt x="599" y="797"/>
                  </a:cubicBezTo>
                  <a:cubicBezTo>
                    <a:pt x="599" y="797"/>
                    <a:pt x="599" y="797"/>
                    <a:pt x="599" y="796"/>
                  </a:cubicBezTo>
                  <a:cubicBezTo>
                    <a:pt x="599" y="796"/>
                    <a:pt x="601" y="796"/>
                    <a:pt x="603" y="798"/>
                  </a:cubicBezTo>
                  <a:cubicBezTo>
                    <a:pt x="603" y="798"/>
                    <a:pt x="602" y="800"/>
                    <a:pt x="604" y="799"/>
                  </a:cubicBezTo>
                  <a:cubicBezTo>
                    <a:pt x="604" y="799"/>
                    <a:pt x="606" y="799"/>
                    <a:pt x="606" y="802"/>
                  </a:cubicBezTo>
                  <a:cubicBezTo>
                    <a:pt x="606" y="802"/>
                    <a:pt x="607" y="806"/>
                    <a:pt x="604" y="809"/>
                  </a:cubicBezTo>
                  <a:close/>
                  <a:moveTo>
                    <a:pt x="632" y="834"/>
                  </a:moveTo>
                  <a:cubicBezTo>
                    <a:pt x="632" y="834"/>
                    <a:pt x="631" y="837"/>
                    <a:pt x="628" y="838"/>
                  </a:cubicBezTo>
                  <a:cubicBezTo>
                    <a:pt x="628" y="838"/>
                    <a:pt x="626" y="839"/>
                    <a:pt x="624" y="839"/>
                  </a:cubicBezTo>
                  <a:cubicBezTo>
                    <a:pt x="624" y="839"/>
                    <a:pt x="622" y="839"/>
                    <a:pt x="622" y="838"/>
                  </a:cubicBezTo>
                  <a:cubicBezTo>
                    <a:pt x="622" y="838"/>
                    <a:pt x="621" y="838"/>
                    <a:pt x="620" y="839"/>
                  </a:cubicBezTo>
                  <a:cubicBezTo>
                    <a:pt x="620" y="839"/>
                    <a:pt x="619" y="839"/>
                    <a:pt x="618" y="837"/>
                  </a:cubicBezTo>
                  <a:cubicBezTo>
                    <a:pt x="618" y="837"/>
                    <a:pt x="616" y="836"/>
                    <a:pt x="616" y="834"/>
                  </a:cubicBezTo>
                  <a:cubicBezTo>
                    <a:pt x="616" y="834"/>
                    <a:pt x="616" y="831"/>
                    <a:pt x="615" y="829"/>
                  </a:cubicBezTo>
                  <a:cubicBezTo>
                    <a:pt x="615" y="829"/>
                    <a:pt x="613" y="824"/>
                    <a:pt x="616" y="825"/>
                  </a:cubicBezTo>
                  <a:cubicBezTo>
                    <a:pt x="616" y="825"/>
                    <a:pt x="617" y="825"/>
                    <a:pt x="619" y="824"/>
                  </a:cubicBezTo>
                  <a:cubicBezTo>
                    <a:pt x="619" y="824"/>
                    <a:pt x="622" y="825"/>
                    <a:pt x="626" y="826"/>
                  </a:cubicBezTo>
                  <a:cubicBezTo>
                    <a:pt x="626" y="826"/>
                    <a:pt x="629" y="828"/>
                    <a:pt x="630" y="828"/>
                  </a:cubicBezTo>
                  <a:cubicBezTo>
                    <a:pt x="630" y="828"/>
                    <a:pt x="632" y="828"/>
                    <a:pt x="632" y="831"/>
                  </a:cubicBezTo>
                  <a:cubicBezTo>
                    <a:pt x="632" y="831"/>
                    <a:pt x="632" y="832"/>
                    <a:pt x="632" y="833"/>
                  </a:cubicBezTo>
                  <a:cubicBezTo>
                    <a:pt x="632" y="833"/>
                    <a:pt x="632" y="834"/>
                    <a:pt x="632" y="834"/>
                  </a:cubicBezTo>
                  <a:close/>
                  <a:moveTo>
                    <a:pt x="667" y="773"/>
                  </a:moveTo>
                  <a:cubicBezTo>
                    <a:pt x="667" y="773"/>
                    <a:pt x="665" y="772"/>
                    <a:pt x="664" y="772"/>
                  </a:cubicBezTo>
                  <a:cubicBezTo>
                    <a:pt x="664" y="772"/>
                    <a:pt x="662" y="770"/>
                    <a:pt x="662" y="773"/>
                  </a:cubicBezTo>
                  <a:cubicBezTo>
                    <a:pt x="662" y="773"/>
                    <a:pt x="656" y="778"/>
                    <a:pt x="656" y="783"/>
                  </a:cubicBezTo>
                  <a:cubicBezTo>
                    <a:pt x="656" y="783"/>
                    <a:pt x="656" y="784"/>
                    <a:pt x="657" y="785"/>
                  </a:cubicBezTo>
                  <a:cubicBezTo>
                    <a:pt x="657" y="785"/>
                    <a:pt x="657" y="788"/>
                    <a:pt x="656" y="789"/>
                  </a:cubicBezTo>
                  <a:cubicBezTo>
                    <a:pt x="656" y="789"/>
                    <a:pt x="656" y="792"/>
                    <a:pt x="655" y="793"/>
                  </a:cubicBezTo>
                  <a:cubicBezTo>
                    <a:pt x="655" y="793"/>
                    <a:pt x="654" y="793"/>
                    <a:pt x="653" y="794"/>
                  </a:cubicBezTo>
                  <a:cubicBezTo>
                    <a:pt x="653" y="794"/>
                    <a:pt x="653" y="794"/>
                    <a:pt x="652" y="794"/>
                  </a:cubicBezTo>
                  <a:cubicBezTo>
                    <a:pt x="652" y="794"/>
                    <a:pt x="647" y="794"/>
                    <a:pt x="648" y="791"/>
                  </a:cubicBezTo>
                  <a:cubicBezTo>
                    <a:pt x="648" y="791"/>
                    <a:pt x="648" y="787"/>
                    <a:pt x="648" y="785"/>
                  </a:cubicBezTo>
                  <a:cubicBezTo>
                    <a:pt x="648" y="785"/>
                    <a:pt x="646" y="782"/>
                    <a:pt x="649" y="781"/>
                  </a:cubicBezTo>
                  <a:cubicBezTo>
                    <a:pt x="649" y="781"/>
                    <a:pt x="651" y="780"/>
                    <a:pt x="652" y="780"/>
                  </a:cubicBezTo>
                  <a:cubicBezTo>
                    <a:pt x="652" y="780"/>
                    <a:pt x="653" y="780"/>
                    <a:pt x="654" y="779"/>
                  </a:cubicBezTo>
                  <a:cubicBezTo>
                    <a:pt x="654" y="779"/>
                    <a:pt x="659" y="773"/>
                    <a:pt x="661" y="770"/>
                  </a:cubicBezTo>
                  <a:cubicBezTo>
                    <a:pt x="661" y="770"/>
                    <a:pt x="662" y="769"/>
                    <a:pt x="660" y="767"/>
                  </a:cubicBezTo>
                  <a:cubicBezTo>
                    <a:pt x="660" y="767"/>
                    <a:pt x="654" y="762"/>
                    <a:pt x="650" y="760"/>
                  </a:cubicBezTo>
                  <a:cubicBezTo>
                    <a:pt x="650" y="760"/>
                    <a:pt x="645" y="758"/>
                    <a:pt x="642" y="759"/>
                  </a:cubicBezTo>
                  <a:cubicBezTo>
                    <a:pt x="642" y="759"/>
                    <a:pt x="634" y="758"/>
                    <a:pt x="640" y="756"/>
                  </a:cubicBezTo>
                  <a:cubicBezTo>
                    <a:pt x="640" y="756"/>
                    <a:pt x="645" y="754"/>
                    <a:pt x="654" y="760"/>
                  </a:cubicBezTo>
                  <a:cubicBezTo>
                    <a:pt x="654" y="760"/>
                    <a:pt x="660" y="764"/>
                    <a:pt x="661" y="767"/>
                  </a:cubicBezTo>
                  <a:cubicBezTo>
                    <a:pt x="661" y="767"/>
                    <a:pt x="662" y="768"/>
                    <a:pt x="663" y="767"/>
                  </a:cubicBezTo>
                  <a:cubicBezTo>
                    <a:pt x="663" y="767"/>
                    <a:pt x="666" y="765"/>
                    <a:pt x="664" y="763"/>
                  </a:cubicBezTo>
                  <a:cubicBezTo>
                    <a:pt x="664" y="763"/>
                    <a:pt x="661" y="757"/>
                    <a:pt x="650" y="750"/>
                  </a:cubicBezTo>
                  <a:cubicBezTo>
                    <a:pt x="650" y="750"/>
                    <a:pt x="646" y="747"/>
                    <a:pt x="644" y="748"/>
                  </a:cubicBezTo>
                  <a:cubicBezTo>
                    <a:pt x="644" y="748"/>
                    <a:pt x="642" y="747"/>
                    <a:pt x="644" y="747"/>
                  </a:cubicBezTo>
                  <a:cubicBezTo>
                    <a:pt x="644" y="747"/>
                    <a:pt x="649" y="745"/>
                    <a:pt x="656" y="750"/>
                  </a:cubicBezTo>
                  <a:cubicBezTo>
                    <a:pt x="656" y="750"/>
                    <a:pt x="661" y="754"/>
                    <a:pt x="664" y="758"/>
                  </a:cubicBezTo>
                  <a:cubicBezTo>
                    <a:pt x="664" y="758"/>
                    <a:pt x="666" y="760"/>
                    <a:pt x="665" y="758"/>
                  </a:cubicBezTo>
                  <a:cubicBezTo>
                    <a:pt x="665" y="758"/>
                    <a:pt x="664" y="756"/>
                    <a:pt x="665" y="755"/>
                  </a:cubicBezTo>
                  <a:cubicBezTo>
                    <a:pt x="665" y="755"/>
                    <a:pt x="665" y="755"/>
                    <a:pt x="665" y="754"/>
                  </a:cubicBezTo>
                  <a:cubicBezTo>
                    <a:pt x="665" y="754"/>
                    <a:pt x="664" y="753"/>
                    <a:pt x="664" y="752"/>
                  </a:cubicBezTo>
                  <a:cubicBezTo>
                    <a:pt x="664" y="752"/>
                    <a:pt x="665" y="752"/>
                    <a:pt x="663" y="752"/>
                  </a:cubicBezTo>
                  <a:cubicBezTo>
                    <a:pt x="663" y="752"/>
                    <a:pt x="662" y="751"/>
                    <a:pt x="661" y="751"/>
                  </a:cubicBezTo>
                  <a:cubicBezTo>
                    <a:pt x="661" y="751"/>
                    <a:pt x="656" y="751"/>
                    <a:pt x="660" y="750"/>
                  </a:cubicBezTo>
                  <a:cubicBezTo>
                    <a:pt x="660" y="750"/>
                    <a:pt x="661" y="750"/>
                    <a:pt x="663" y="750"/>
                  </a:cubicBezTo>
                  <a:cubicBezTo>
                    <a:pt x="663" y="750"/>
                    <a:pt x="664" y="750"/>
                    <a:pt x="663" y="749"/>
                  </a:cubicBezTo>
                  <a:cubicBezTo>
                    <a:pt x="663" y="749"/>
                    <a:pt x="661" y="745"/>
                    <a:pt x="661" y="744"/>
                  </a:cubicBezTo>
                  <a:cubicBezTo>
                    <a:pt x="661" y="744"/>
                    <a:pt x="660" y="742"/>
                    <a:pt x="660" y="744"/>
                  </a:cubicBezTo>
                  <a:cubicBezTo>
                    <a:pt x="660" y="744"/>
                    <a:pt x="659" y="746"/>
                    <a:pt x="656" y="744"/>
                  </a:cubicBezTo>
                  <a:cubicBezTo>
                    <a:pt x="656" y="744"/>
                    <a:pt x="651" y="744"/>
                    <a:pt x="651" y="741"/>
                  </a:cubicBezTo>
                  <a:cubicBezTo>
                    <a:pt x="651" y="741"/>
                    <a:pt x="652" y="737"/>
                    <a:pt x="649" y="737"/>
                  </a:cubicBezTo>
                  <a:cubicBezTo>
                    <a:pt x="649" y="737"/>
                    <a:pt x="646" y="736"/>
                    <a:pt x="649" y="735"/>
                  </a:cubicBezTo>
                  <a:cubicBezTo>
                    <a:pt x="649" y="735"/>
                    <a:pt x="652" y="734"/>
                    <a:pt x="656" y="735"/>
                  </a:cubicBezTo>
                  <a:cubicBezTo>
                    <a:pt x="656" y="735"/>
                    <a:pt x="656" y="736"/>
                    <a:pt x="658" y="735"/>
                  </a:cubicBezTo>
                  <a:cubicBezTo>
                    <a:pt x="658" y="735"/>
                    <a:pt x="667" y="731"/>
                    <a:pt x="668" y="737"/>
                  </a:cubicBezTo>
                  <a:cubicBezTo>
                    <a:pt x="668" y="737"/>
                    <a:pt x="667" y="741"/>
                    <a:pt x="669" y="744"/>
                  </a:cubicBezTo>
                  <a:cubicBezTo>
                    <a:pt x="669" y="744"/>
                    <a:pt x="669" y="746"/>
                    <a:pt x="669" y="747"/>
                  </a:cubicBezTo>
                  <a:cubicBezTo>
                    <a:pt x="669" y="747"/>
                    <a:pt x="669" y="748"/>
                    <a:pt x="670" y="750"/>
                  </a:cubicBezTo>
                  <a:cubicBezTo>
                    <a:pt x="670" y="750"/>
                    <a:pt x="671" y="750"/>
                    <a:pt x="670" y="751"/>
                  </a:cubicBezTo>
                  <a:cubicBezTo>
                    <a:pt x="670" y="751"/>
                    <a:pt x="670" y="753"/>
                    <a:pt x="670" y="755"/>
                  </a:cubicBezTo>
                  <a:cubicBezTo>
                    <a:pt x="670" y="755"/>
                    <a:pt x="669" y="758"/>
                    <a:pt x="671" y="756"/>
                  </a:cubicBezTo>
                  <a:cubicBezTo>
                    <a:pt x="671" y="756"/>
                    <a:pt x="676" y="749"/>
                    <a:pt x="678" y="746"/>
                  </a:cubicBezTo>
                  <a:cubicBezTo>
                    <a:pt x="678" y="746"/>
                    <a:pt x="680" y="744"/>
                    <a:pt x="677" y="744"/>
                  </a:cubicBezTo>
                  <a:cubicBezTo>
                    <a:pt x="677" y="744"/>
                    <a:pt x="674" y="743"/>
                    <a:pt x="672" y="742"/>
                  </a:cubicBezTo>
                  <a:cubicBezTo>
                    <a:pt x="672" y="742"/>
                    <a:pt x="670" y="741"/>
                    <a:pt x="672" y="740"/>
                  </a:cubicBezTo>
                  <a:cubicBezTo>
                    <a:pt x="672" y="740"/>
                    <a:pt x="674" y="741"/>
                    <a:pt x="674" y="740"/>
                  </a:cubicBezTo>
                  <a:cubicBezTo>
                    <a:pt x="674" y="740"/>
                    <a:pt x="673" y="739"/>
                    <a:pt x="674" y="739"/>
                  </a:cubicBezTo>
                  <a:cubicBezTo>
                    <a:pt x="674" y="739"/>
                    <a:pt x="676" y="739"/>
                    <a:pt x="676" y="737"/>
                  </a:cubicBezTo>
                  <a:cubicBezTo>
                    <a:pt x="676" y="737"/>
                    <a:pt x="675" y="734"/>
                    <a:pt x="674" y="735"/>
                  </a:cubicBezTo>
                  <a:cubicBezTo>
                    <a:pt x="674" y="735"/>
                    <a:pt x="670" y="735"/>
                    <a:pt x="669" y="733"/>
                  </a:cubicBezTo>
                  <a:cubicBezTo>
                    <a:pt x="669" y="733"/>
                    <a:pt x="667" y="732"/>
                    <a:pt x="667" y="731"/>
                  </a:cubicBezTo>
                  <a:cubicBezTo>
                    <a:pt x="667" y="731"/>
                    <a:pt x="667" y="730"/>
                    <a:pt x="669" y="731"/>
                  </a:cubicBezTo>
                  <a:cubicBezTo>
                    <a:pt x="669" y="731"/>
                    <a:pt x="673" y="733"/>
                    <a:pt x="671" y="730"/>
                  </a:cubicBezTo>
                  <a:cubicBezTo>
                    <a:pt x="669" y="728"/>
                    <a:pt x="669" y="728"/>
                    <a:pt x="669" y="728"/>
                  </a:cubicBezTo>
                  <a:cubicBezTo>
                    <a:pt x="669" y="728"/>
                    <a:pt x="669" y="726"/>
                    <a:pt x="666" y="728"/>
                  </a:cubicBezTo>
                  <a:cubicBezTo>
                    <a:pt x="666" y="728"/>
                    <a:pt x="660" y="729"/>
                    <a:pt x="662" y="727"/>
                  </a:cubicBezTo>
                  <a:cubicBezTo>
                    <a:pt x="662" y="727"/>
                    <a:pt x="664" y="726"/>
                    <a:pt x="663" y="725"/>
                  </a:cubicBezTo>
                  <a:cubicBezTo>
                    <a:pt x="663" y="725"/>
                    <a:pt x="663" y="724"/>
                    <a:pt x="665" y="723"/>
                  </a:cubicBezTo>
                  <a:cubicBezTo>
                    <a:pt x="665" y="723"/>
                    <a:pt x="666" y="722"/>
                    <a:pt x="665" y="721"/>
                  </a:cubicBezTo>
                  <a:cubicBezTo>
                    <a:pt x="665" y="721"/>
                    <a:pt x="665" y="721"/>
                    <a:pt x="668" y="720"/>
                  </a:cubicBezTo>
                  <a:cubicBezTo>
                    <a:pt x="668" y="720"/>
                    <a:pt x="676" y="717"/>
                    <a:pt x="677" y="721"/>
                  </a:cubicBezTo>
                  <a:cubicBezTo>
                    <a:pt x="677" y="721"/>
                    <a:pt x="678" y="723"/>
                    <a:pt x="677" y="725"/>
                  </a:cubicBezTo>
                  <a:cubicBezTo>
                    <a:pt x="677" y="725"/>
                    <a:pt x="676" y="725"/>
                    <a:pt x="677" y="729"/>
                  </a:cubicBezTo>
                  <a:cubicBezTo>
                    <a:pt x="677" y="729"/>
                    <a:pt x="677" y="731"/>
                    <a:pt x="679" y="732"/>
                  </a:cubicBezTo>
                  <a:cubicBezTo>
                    <a:pt x="679" y="732"/>
                    <a:pt x="680" y="734"/>
                    <a:pt x="681" y="736"/>
                  </a:cubicBezTo>
                  <a:cubicBezTo>
                    <a:pt x="681" y="736"/>
                    <a:pt x="683" y="739"/>
                    <a:pt x="683" y="740"/>
                  </a:cubicBezTo>
                  <a:cubicBezTo>
                    <a:pt x="683" y="740"/>
                    <a:pt x="683" y="742"/>
                    <a:pt x="684" y="741"/>
                  </a:cubicBezTo>
                  <a:cubicBezTo>
                    <a:pt x="684" y="741"/>
                    <a:pt x="692" y="731"/>
                    <a:pt x="698" y="734"/>
                  </a:cubicBezTo>
                  <a:cubicBezTo>
                    <a:pt x="698" y="734"/>
                    <a:pt x="701" y="733"/>
                    <a:pt x="697" y="738"/>
                  </a:cubicBezTo>
                  <a:cubicBezTo>
                    <a:pt x="697" y="738"/>
                    <a:pt x="696" y="740"/>
                    <a:pt x="695" y="740"/>
                  </a:cubicBezTo>
                  <a:cubicBezTo>
                    <a:pt x="688" y="743"/>
                    <a:pt x="688" y="743"/>
                    <a:pt x="688" y="743"/>
                  </a:cubicBezTo>
                  <a:cubicBezTo>
                    <a:pt x="688" y="743"/>
                    <a:pt x="686" y="744"/>
                    <a:pt x="689" y="742"/>
                  </a:cubicBezTo>
                  <a:cubicBezTo>
                    <a:pt x="689" y="742"/>
                    <a:pt x="692" y="739"/>
                    <a:pt x="692" y="738"/>
                  </a:cubicBezTo>
                  <a:cubicBezTo>
                    <a:pt x="692" y="738"/>
                    <a:pt x="692" y="736"/>
                    <a:pt x="691" y="738"/>
                  </a:cubicBezTo>
                  <a:cubicBezTo>
                    <a:pt x="691" y="738"/>
                    <a:pt x="687" y="741"/>
                    <a:pt x="686" y="742"/>
                  </a:cubicBezTo>
                  <a:cubicBezTo>
                    <a:pt x="686" y="742"/>
                    <a:pt x="684" y="743"/>
                    <a:pt x="685" y="745"/>
                  </a:cubicBezTo>
                  <a:cubicBezTo>
                    <a:pt x="685" y="745"/>
                    <a:pt x="685" y="746"/>
                    <a:pt x="685" y="746"/>
                  </a:cubicBezTo>
                  <a:cubicBezTo>
                    <a:pt x="685" y="746"/>
                    <a:pt x="685" y="747"/>
                    <a:pt x="685" y="747"/>
                  </a:cubicBezTo>
                  <a:cubicBezTo>
                    <a:pt x="685" y="747"/>
                    <a:pt x="687" y="751"/>
                    <a:pt x="684" y="751"/>
                  </a:cubicBezTo>
                  <a:cubicBezTo>
                    <a:pt x="684" y="751"/>
                    <a:pt x="681" y="751"/>
                    <a:pt x="680" y="749"/>
                  </a:cubicBezTo>
                  <a:cubicBezTo>
                    <a:pt x="680" y="749"/>
                    <a:pt x="679" y="747"/>
                    <a:pt x="678" y="750"/>
                  </a:cubicBezTo>
                  <a:cubicBezTo>
                    <a:pt x="678" y="750"/>
                    <a:pt x="675" y="755"/>
                    <a:pt x="673" y="757"/>
                  </a:cubicBezTo>
                  <a:cubicBezTo>
                    <a:pt x="673" y="757"/>
                    <a:pt x="668" y="762"/>
                    <a:pt x="669" y="763"/>
                  </a:cubicBezTo>
                  <a:cubicBezTo>
                    <a:pt x="669" y="763"/>
                    <a:pt x="671" y="765"/>
                    <a:pt x="670" y="765"/>
                  </a:cubicBezTo>
                  <a:cubicBezTo>
                    <a:pt x="670" y="765"/>
                    <a:pt x="669" y="766"/>
                    <a:pt x="667" y="765"/>
                  </a:cubicBezTo>
                  <a:cubicBezTo>
                    <a:pt x="667" y="765"/>
                    <a:pt x="667" y="765"/>
                    <a:pt x="666" y="767"/>
                  </a:cubicBezTo>
                  <a:cubicBezTo>
                    <a:pt x="666" y="767"/>
                    <a:pt x="663" y="770"/>
                    <a:pt x="665" y="771"/>
                  </a:cubicBezTo>
                  <a:cubicBezTo>
                    <a:pt x="665" y="771"/>
                    <a:pt x="666" y="771"/>
                    <a:pt x="667" y="772"/>
                  </a:cubicBezTo>
                  <a:cubicBezTo>
                    <a:pt x="667" y="772"/>
                    <a:pt x="669" y="772"/>
                    <a:pt x="667" y="773"/>
                  </a:cubicBezTo>
                  <a:close/>
                  <a:moveTo>
                    <a:pt x="706" y="796"/>
                  </a:moveTo>
                  <a:cubicBezTo>
                    <a:pt x="706" y="796"/>
                    <a:pt x="706" y="797"/>
                    <a:pt x="706" y="799"/>
                  </a:cubicBezTo>
                  <a:cubicBezTo>
                    <a:pt x="706" y="799"/>
                    <a:pt x="706" y="800"/>
                    <a:pt x="705" y="801"/>
                  </a:cubicBezTo>
                  <a:cubicBezTo>
                    <a:pt x="695" y="808"/>
                    <a:pt x="695" y="808"/>
                    <a:pt x="695" y="808"/>
                  </a:cubicBezTo>
                  <a:cubicBezTo>
                    <a:pt x="695" y="808"/>
                    <a:pt x="694" y="807"/>
                    <a:pt x="693" y="809"/>
                  </a:cubicBezTo>
                  <a:cubicBezTo>
                    <a:pt x="693" y="809"/>
                    <a:pt x="693" y="808"/>
                    <a:pt x="692" y="808"/>
                  </a:cubicBezTo>
                  <a:cubicBezTo>
                    <a:pt x="692" y="808"/>
                    <a:pt x="692" y="808"/>
                    <a:pt x="692" y="809"/>
                  </a:cubicBezTo>
                  <a:cubicBezTo>
                    <a:pt x="692" y="809"/>
                    <a:pt x="690" y="808"/>
                    <a:pt x="690" y="809"/>
                  </a:cubicBezTo>
                  <a:cubicBezTo>
                    <a:pt x="684" y="810"/>
                    <a:pt x="684" y="810"/>
                    <a:pt x="684" y="810"/>
                  </a:cubicBezTo>
                  <a:cubicBezTo>
                    <a:pt x="684" y="810"/>
                    <a:pt x="682" y="810"/>
                    <a:pt x="685" y="809"/>
                  </a:cubicBezTo>
                  <a:cubicBezTo>
                    <a:pt x="685" y="809"/>
                    <a:pt x="692" y="807"/>
                    <a:pt x="688" y="807"/>
                  </a:cubicBezTo>
                  <a:cubicBezTo>
                    <a:pt x="688" y="807"/>
                    <a:pt x="686" y="806"/>
                    <a:pt x="688" y="806"/>
                  </a:cubicBezTo>
                  <a:cubicBezTo>
                    <a:pt x="688" y="806"/>
                    <a:pt x="695" y="801"/>
                    <a:pt x="697" y="796"/>
                  </a:cubicBezTo>
                  <a:cubicBezTo>
                    <a:pt x="697" y="796"/>
                    <a:pt x="704" y="785"/>
                    <a:pt x="695" y="779"/>
                  </a:cubicBezTo>
                  <a:cubicBezTo>
                    <a:pt x="695" y="779"/>
                    <a:pt x="691" y="779"/>
                    <a:pt x="688" y="784"/>
                  </a:cubicBezTo>
                  <a:cubicBezTo>
                    <a:pt x="688" y="784"/>
                    <a:pt x="686" y="789"/>
                    <a:pt x="683" y="790"/>
                  </a:cubicBezTo>
                  <a:cubicBezTo>
                    <a:pt x="683" y="790"/>
                    <a:pt x="678" y="789"/>
                    <a:pt x="675" y="787"/>
                  </a:cubicBezTo>
                  <a:cubicBezTo>
                    <a:pt x="675" y="787"/>
                    <a:pt x="672" y="786"/>
                    <a:pt x="675" y="786"/>
                  </a:cubicBezTo>
                  <a:cubicBezTo>
                    <a:pt x="675" y="786"/>
                    <a:pt x="676" y="786"/>
                    <a:pt x="678" y="784"/>
                  </a:cubicBezTo>
                  <a:cubicBezTo>
                    <a:pt x="678" y="784"/>
                    <a:pt x="681" y="783"/>
                    <a:pt x="681" y="782"/>
                  </a:cubicBezTo>
                  <a:cubicBezTo>
                    <a:pt x="681" y="782"/>
                    <a:pt x="683" y="779"/>
                    <a:pt x="685" y="777"/>
                  </a:cubicBezTo>
                  <a:cubicBezTo>
                    <a:pt x="685" y="777"/>
                    <a:pt x="688" y="775"/>
                    <a:pt x="689" y="773"/>
                  </a:cubicBezTo>
                  <a:cubicBezTo>
                    <a:pt x="689" y="773"/>
                    <a:pt x="689" y="771"/>
                    <a:pt x="687" y="772"/>
                  </a:cubicBezTo>
                  <a:cubicBezTo>
                    <a:pt x="687" y="772"/>
                    <a:pt x="683" y="776"/>
                    <a:pt x="679" y="769"/>
                  </a:cubicBezTo>
                  <a:cubicBezTo>
                    <a:pt x="679" y="769"/>
                    <a:pt x="679" y="761"/>
                    <a:pt x="678" y="764"/>
                  </a:cubicBezTo>
                  <a:cubicBezTo>
                    <a:pt x="678" y="764"/>
                    <a:pt x="676" y="769"/>
                    <a:pt x="673" y="770"/>
                  </a:cubicBezTo>
                  <a:cubicBezTo>
                    <a:pt x="673" y="770"/>
                    <a:pt x="671" y="771"/>
                    <a:pt x="669" y="770"/>
                  </a:cubicBezTo>
                  <a:cubicBezTo>
                    <a:pt x="669" y="770"/>
                    <a:pt x="666" y="769"/>
                    <a:pt x="669" y="769"/>
                  </a:cubicBezTo>
                  <a:cubicBezTo>
                    <a:pt x="669" y="769"/>
                    <a:pt x="672" y="768"/>
                    <a:pt x="674" y="764"/>
                  </a:cubicBezTo>
                  <a:cubicBezTo>
                    <a:pt x="674" y="764"/>
                    <a:pt x="676" y="761"/>
                    <a:pt x="676" y="759"/>
                  </a:cubicBezTo>
                  <a:cubicBezTo>
                    <a:pt x="676" y="759"/>
                    <a:pt x="675" y="758"/>
                    <a:pt x="678" y="757"/>
                  </a:cubicBezTo>
                  <a:cubicBezTo>
                    <a:pt x="678" y="757"/>
                    <a:pt x="684" y="752"/>
                    <a:pt x="688" y="755"/>
                  </a:cubicBezTo>
                  <a:cubicBezTo>
                    <a:pt x="688" y="755"/>
                    <a:pt x="689" y="757"/>
                    <a:pt x="688" y="760"/>
                  </a:cubicBezTo>
                  <a:cubicBezTo>
                    <a:pt x="688" y="760"/>
                    <a:pt x="687" y="762"/>
                    <a:pt x="690" y="765"/>
                  </a:cubicBezTo>
                  <a:cubicBezTo>
                    <a:pt x="690" y="765"/>
                    <a:pt x="694" y="767"/>
                    <a:pt x="695" y="766"/>
                  </a:cubicBezTo>
                  <a:cubicBezTo>
                    <a:pt x="695" y="766"/>
                    <a:pt x="700" y="762"/>
                    <a:pt x="702" y="763"/>
                  </a:cubicBezTo>
                  <a:cubicBezTo>
                    <a:pt x="702" y="763"/>
                    <a:pt x="706" y="763"/>
                    <a:pt x="705" y="766"/>
                  </a:cubicBezTo>
                  <a:cubicBezTo>
                    <a:pt x="705" y="766"/>
                    <a:pt x="704" y="768"/>
                    <a:pt x="704" y="769"/>
                  </a:cubicBezTo>
                  <a:cubicBezTo>
                    <a:pt x="704" y="769"/>
                    <a:pt x="704" y="769"/>
                    <a:pt x="702" y="770"/>
                  </a:cubicBezTo>
                  <a:cubicBezTo>
                    <a:pt x="702" y="770"/>
                    <a:pt x="699" y="772"/>
                    <a:pt x="702" y="775"/>
                  </a:cubicBezTo>
                  <a:cubicBezTo>
                    <a:pt x="707" y="782"/>
                    <a:pt x="707" y="782"/>
                    <a:pt x="707" y="782"/>
                  </a:cubicBezTo>
                  <a:cubicBezTo>
                    <a:pt x="707" y="782"/>
                    <a:pt x="709" y="788"/>
                    <a:pt x="708" y="793"/>
                  </a:cubicBezTo>
                  <a:cubicBezTo>
                    <a:pt x="708" y="793"/>
                    <a:pt x="707" y="795"/>
                    <a:pt x="706" y="796"/>
                  </a:cubicBezTo>
                  <a:close/>
                  <a:moveTo>
                    <a:pt x="452" y="787"/>
                  </a:moveTo>
                  <a:cubicBezTo>
                    <a:pt x="268" y="787"/>
                    <a:pt x="119" y="638"/>
                    <a:pt x="119" y="454"/>
                  </a:cubicBezTo>
                  <a:cubicBezTo>
                    <a:pt x="119" y="270"/>
                    <a:pt x="268" y="121"/>
                    <a:pt x="452" y="121"/>
                  </a:cubicBezTo>
                  <a:cubicBezTo>
                    <a:pt x="636" y="121"/>
                    <a:pt x="785" y="270"/>
                    <a:pt x="785" y="454"/>
                  </a:cubicBezTo>
                  <a:cubicBezTo>
                    <a:pt x="785" y="638"/>
                    <a:pt x="636" y="787"/>
                    <a:pt x="452" y="787"/>
                  </a:cubicBezTo>
                  <a:close/>
                  <a:moveTo>
                    <a:pt x="779" y="318"/>
                  </a:moveTo>
                  <a:cubicBezTo>
                    <a:pt x="776" y="310"/>
                    <a:pt x="775" y="303"/>
                    <a:pt x="778" y="296"/>
                  </a:cubicBezTo>
                  <a:cubicBezTo>
                    <a:pt x="780" y="290"/>
                    <a:pt x="785" y="285"/>
                    <a:pt x="793" y="282"/>
                  </a:cubicBezTo>
                  <a:cubicBezTo>
                    <a:pt x="798" y="280"/>
                    <a:pt x="802" y="279"/>
                    <a:pt x="806" y="279"/>
                  </a:cubicBezTo>
                  <a:cubicBezTo>
                    <a:pt x="809" y="279"/>
                    <a:pt x="812" y="280"/>
                    <a:pt x="815" y="281"/>
                  </a:cubicBezTo>
                  <a:cubicBezTo>
                    <a:pt x="817" y="283"/>
                    <a:pt x="820" y="284"/>
                    <a:pt x="822" y="286"/>
                  </a:cubicBezTo>
                  <a:cubicBezTo>
                    <a:pt x="824" y="289"/>
                    <a:pt x="827" y="293"/>
                    <a:pt x="828" y="297"/>
                  </a:cubicBezTo>
                  <a:cubicBezTo>
                    <a:pt x="832" y="305"/>
                    <a:pt x="832" y="312"/>
                    <a:pt x="829" y="318"/>
                  </a:cubicBezTo>
                  <a:cubicBezTo>
                    <a:pt x="827" y="325"/>
                    <a:pt x="822" y="330"/>
                    <a:pt x="814" y="333"/>
                  </a:cubicBezTo>
                  <a:cubicBezTo>
                    <a:pt x="806" y="336"/>
                    <a:pt x="799" y="336"/>
                    <a:pt x="793" y="333"/>
                  </a:cubicBezTo>
                  <a:cubicBezTo>
                    <a:pt x="787" y="331"/>
                    <a:pt x="782" y="325"/>
                    <a:pt x="779" y="318"/>
                  </a:cubicBezTo>
                  <a:close/>
                  <a:moveTo>
                    <a:pt x="841" y="337"/>
                  </a:moveTo>
                  <a:cubicBezTo>
                    <a:pt x="844" y="348"/>
                    <a:pt x="844" y="348"/>
                    <a:pt x="844" y="348"/>
                  </a:cubicBezTo>
                  <a:cubicBezTo>
                    <a:pt x="803" y="358"/>
                    <a:pt x="803" y="358"/>
                    <a:pt x="803" y="358"/>
                  </a:cubicBezTo>
                  <a:cubicBezTo>
                    <a:pt x="810" y="386"/>
                    <a:pt x="810" y="386"/>
                    <a:pt x="810" y="386"/>
                  </a:cubicBezTo>
                  <a:cubicBezTo>
                    <a:pt x="801" y="388"/>
                    <a:pt x="801" y="388"/>
                    <a:pt x="801" y="388"/>
                  </a:cubicBezTo>
                  <a:cubicBezTo>
                    <a:pt x="792" y="349"/>
                    <a:pt x="792" y="349"/>
                    <a:pt x="792" y="349"/>
                  </a:cubicBezTo>
                  <a:lnTo>
                    <a:pt x="841" y="337"/>
                  </a:lnTo>
                  <a:close/>
                  <a:moveTo>
                    <a:pt x="852" y="525"/>
                  </a:moveTo>
                  <a:cubicBezTo>
                    <a:pt x="816" y="528"/>
                    <a:pt x="816" y="528"/>
                    <a:pt x="816" y="528"/>
                  </a:cubicBezTo>
                  <a:cubicBezTo>
                    <a:pt x="848" y="545"/>
                    <a:pt x="848" y="545"/>
                    <a:pt x="848" y="545"/>
                  </a:cubicBezTo>
                  <a:cubicBezTo>
                    <a:pt x="845" y="562"/>
                    <a:pt x="845" y="562"/>
                    <a:pt x="845" y="562"/>
                  </a:cubicBezTo>
                  <a:cubicBezTo>
                    <a:pt x="794" y="552"/>
                    <a:pt x="794" y="552"/>
                    <a:pt x="794" y="552"/>
                  </a:cubicBezTo>
                  <a:cubicBezTo>
                    <a:pt x="796" y="541"/>
                    <a:pt x="796" y="541"/>
                    <a:pt x="796" y="541"/>
                  </a:cubicBezTo>
                  <a:cubicBezTo>
                    <a:pt x="836" y="549"/>
                    <a:pt x="836" y="549"/>
                    <a:pt x="836" y="549"/>
                  </a:cubicBezTo>
                  <a:cubicBezTo>
                    <a:pt x="798" y="530"/>
                    <a:pt x="798" y="530"/>
                    <a:pt x="798" y="530"/>
                  </a:cubicBezTo>
                  <a:cubicBezTo>
                    <a:pt x="801" y="519"/>
                    <a:pt x="801" y="519"/>
                    <a:pt x="801" y="519"/>
                  </a:cubicBezTo>
                  <a:cubicBezTo>
                    <a:pt x="843" y="516"/>
                    <a:pt x="843" y="516"/>
                    <a:pt x="843" y="516"/>
                  </a:cubicBezTo>
                  <a:cubicBezTo>
                    <a:pt x="803" y="508"/>
                    <a:pt x="803" y="508"/>
                    <a:pt x="803" y="508"/>
                  </a:cubicBezTo>
                  <a:cubicBezTo>
                    <a:pt x="805" y="498"/>
                    <a:pt x="805" y="498"/>
                    <a:pt x="805" y="498"/>
                  </a:cubicBezTo>
                  <a:cubicBezTo>
                    <a:pt x="856" y="508"/>
                    <a:pt x="856" y="508"/>
                    <a:pt x="856" y="508"/>
                  </a:cubicBezTo>
                  <a:lnTo>
                    <a:pt x="852" y="525"/>
                  </a:lnTo>
                  <a:close/>
                  <a:moveTo>
                    <a:pt x="816" y="474"/>
                  </a:moveTo>
                  <a:cubicBezTo>
                    <a:pt x="817" y="476"/>
                    <a:pt x="818" y="477"/>
                    <a:pt x="820" y="477"/>
                  </a:cubicBezTo>
                  <a:cubicBezTo>
                    <a:pt x="822" y="478"/>
                    <a:pt x="825" y="478"/>
                    <a:pt x="829" y="478"/>
                  </a:cubicBezTo>
                  <a:cubicBezTo>
                    <a:pt x="858" y="479"/>
                    <a:pt x="858" y="479"/>
                    <a:pt x="858" y="479"/>
                  </a:cubicBezTo>
                  <a:cubicBezTo>
                    <a:pt x="857" y="491"/>
                    <a:pt x="857" y="491"/>
                    <a:pt x="857" y="491"/>
                  </a:cubicBezTo>
                  <a:cubicBezTo>
                    <a:pt x="830" y="490"/>
                    <a:pt x="830" y="490"/>
                    <a:pt x="830" y="490"/>
                  </a:cubicBezTo>
                  <a:cubicBezTo>
                    <a:pt x="824" y="490"/>
                    <a:pt x="819" y="489"/>
                    <a:pt x="817" y="488"/>
                  </a:cubicBezTo>
                  <a:cubicBezTo>
                    <a:pt x="814" y="488"/>
                    <a:pt x="812" y="486"/>
                    <a:pt x="811" y="485"/>
                  </a:cubicBezTo>
                  <a:cubicBezTo>
                    <a:pt x="809" y="483"/>
                    <a:pt x="808" y="481"/>
                    <a:pt x="807" y="478"/>
                  </a:cubicBezTo>
                  <a:cubicBezTo>
                    <a:pt x="806" y="475"/>
                    <a:pt x="805" y="471"/>
                    <a:pt x="805" y="467"/>
                  </a:cubicBezTo>
                  <a:cubicBezTo>
                    <a:pt x="806" y="461"/>
                    <a:pt x="806" y="457"/>
                    <a:pt x="808" y="455"/>
                  </a:cubicBezTo>
                  <a:cubicBezTo>
                    <a:pt x="809" y="452"/>
                    <a:pt x="810" y="450"/>
                    <a:pt x="812" y="448"/>
                  </a:cubicBezTo>
                  <a:cubicBezTo>
                    <a:pt x="814" y="447"/>
                    <a:pt x="816" y="446"/>
                    <a:pt x="818" y="445"/>
                  </a:cubicBezTo>
                  <a:cubicBezTo>
                    <a:pt x="821" y="444"/>
                    <a:pt x="825" y="444"/>
                    <a:pt x="831" y="444"/>
                  </a:cubicBezTo>
                  <a:cubicBezTo>
                    <a:pt x="859" y="445"/>
                    <a:pt x="859" y="445"/>
                    <a:pt x="859" y="445"/>
                  </a:cubicBezTo>
                  <a:cubicBezTo>
                    <a:pt x="858" y="457"/>
                    <a:pt x="858" y="457"/>
                    <a:pt x="858" y="457"/>
                  </a:cubicBezTo>
                  <a:cubicBezTo>
                    <a:pt x="830" y="456"/>
                    <a:pt x="830" y="456"/>
                    <a:pt x="830" y="456"/>
                  </a:cubicBezTo>
                  <a:cubicBezTo>
                    <a:pt x="826" y="456"/>
                    <a:pt x="823" y="456"/>
                    <a:pt x="822" y="456"/>
                  </a:cubicBezTo>
                  <a:cubicBezTo>
                    <a:pt x="819" y="456"/>
                    <a:pt x="818" y="457"/>
                    <a:pt x="816" y="459"/>
                  </a:cubicBezTo>
                  <a:cubicBezTo>
                    <a:pt x="815" y="461"/>
                    <a:pt x="814" y="464"/>
                    <a:pt x="814" y="467"/>
                  </a:cubicBezTo>
                  <a:cubicBezTo>
                    <a:pt x="814" y="470"/>
                    <a:pt x="815" y="473"/>
                    <a:pt x="816" y="4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68">
              <a:extLst>
                <a:ext uri="{FF2B5EF4-FFF2-40B4-BE49-F238E27FC236}">
                  <a16:creationId xmlns:a16="http://schemas.microsoft.com/office/drawing/2014/main" id="{434E4E18-427D-4749-8268-8D82C4BD9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7558" y="4249111"/>
              <a:ext cx="41275" cy="39688"/>
            </a:xfrm>
            <a:custGeom>
              <a:avLst/>
              <a:gdLst>
                <a:gd name="T0" fmla="*/ 13 w 22"/>
                <a:gd name="T1" fmla="*/ 20 h 21"/>
                <a:gd name="T2" fmla="*/ 17 w 22"/>
                <a:gd name="T3" fmla="*/ 20 h 21"/>
                <a:gd name="T4" fmla="*/ 21 w 22"/>
                <a:gd name="T5" fmla="*/ 17 h 21"/>
                <a:gd name="T6" fmla="*/ 22 w 22"/>
                <a:gd name="T7" fmla="*/ 13 h 21"/>
                <a:gd name="T8" fmla="*/ 19 w 22"/>
                <a:gd name="T9" fmla="*/ 8 h 21"/>
                <a:gd name="T10" fmla="*/ 13 w 22"/>
                <a:gd name="T11" fmla="*/ 3 h 21"/>
                <a:gd name="T12" fmla="*/ 8 w 22"/>
                <a:gd name="T13" fmla="*/ 0 h 21"/>
                <a:gd name="T14" fmla="*/ 0 w 22"/>
                <a:gd name="T15" fmla="*/ 12 h 21"/>
                <a:gd name="T16" fmla="*/ 5 w 22"/>
                <a:gd name="T17" fmla="*/ 16 h 21"/>
                <a:gd name="T18" fmla="*/ 13 w 22"/>
                <a:gd name="T1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13" y="20"/>
                  </a:moveTo>
                  <a:cubicBezTo>
                    <a:pt x="14" y="21"/>
                    <a:pt x="16" y="21"/>
                    <a:pt x="17" y="20"/>
                  </a:cubicBezTo>
                  <a:cubicBezTo>
                    <a:pt x="19" y="20"/>
                    <a:pt x="20" y="19"/>
                    <a:pt x="21" y="17"/>
                  </a:cubicBezTo>
                  <a:cubicBezTo>
                    <a:pt x="22" y="16"/>
                    <a:pt x="22" y="14"/>
                    <a:pt x="22" y="13"/>
                  </a:cubicBezTo>
                  <a:cubicBezTo>
                    <a:pt x="22" y="11"/>
                    <a:pt x="21" y="9"/>
                    <a:pt x="19" y="8"/>
                  </a:cubicBezTo>
                  <a:cubicBezTo>
                    <a:pt x="18" y="7"/>
                    <a:pt x="16" y="5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9" y="18"/>
                    <a:pt x="11" y="20"/>
                    <a:pt x="1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69">
              <a:extLst>
                <a:ext uri="{FF2B5EF4-FFF2-40B4-BE49-F238E27FC236}">
                  <a16:creationId xmlns:a16="http://schemas.microsoft.com/office/drawing/2014/main" id="{D700C67B-4D7A-45D5-B610-562ABFCAE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9270" y="5563561"/>
              <a:ext cx="33338" cy="52388"/>
            </a:xfrm>
            <a:custGeom>
              <a:avLst/>
              <a:gdLst>
                <a:gd name="T0" fmla="*/ 3 w 18"/>
                <a:gd name="T1" fmla="*/ 3 h 28"/>
                <a:gd name="T2" fmla="*/ 5 w 18"/>
                <a:gd name="T3" fmla="*/ 6 h 28"/>
                <a:gd name="T4" fmla="*/ 7 w 18"/>
                <a:gd name="T5" fmla="*/ 8 h 28"/>
                <a:gd name="T6" fmla="*/ 7 w 18"/>
                <a:gd name="T7" fmla="*/ 11 h 28"/>
                <a:gd name="T8" fmla="*/ 6 w 18"/>
                <a:gd name="T9" fmla="*/ 13 h 28"/>
                <a:gd name="T10" fmla="*/ 2 w 18"/>
                <a:gd name="T11" fmla="*/ 19 h 28"/>
                <a:gd name="T12" fmla="*/ 3 w 18"/>
                <a:gd name="T13" fmla="*/ 25 h 28"/>
                <a:gd name="T14" fmla="*/ 8 w 18"/>
                <a:gd name="T15" fmla="*/ 22 h 28"/>
                <a:gd name="T16" fmla="*/ 9 w 18"/>
                <a:gd name="T17" fmla="*/ 21 h 28"/>
                <a:gd name="T18" fmla="*/ 10 w 18"/>
                <a:gd name="T19" fmla="*/ 19 h 28"/>
                <a:gd name="T20" fmla="*/ 14 w 18"/>
                <a:gd name="T21" fmla="*/ 13 h 28"/>
                <a:gd name="T22" fmla="*/ 17 w 18"/>
                <a:gd name="T23" fmla="*/ 6 h 28"/>
                <a:gd name="T24" fmla="*/ 17 w 18"/>
                <a:gd name="T25" fmla="*/ 4 h 28"/>
                <a:gd name="T26" fmla="*/ 12 w 18"/>
                <a:gd name="T27" fmla="*/ 1 h 28"/>
                <a:gd name="T28" fmla="*/ 7 w 18"/>
                <a:gd name="T29" fmla="*/ 0 h 28"/>
                <a:gd name="T30" fmla="*/ 4 w 18"/>
                <a:gd name="T31" fmla="*/ 0 h 28"/>
                <a:gd name="T32" fmla="*/ 3 w 18"/>
                <a:gd name="T33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28">
                  <a:moveTo>
                    <a:pt x="3" y="3"/>
                  </a:moveTo>
                  <a:cubicBezTo>
                    <a:pt x="4" y="4"/>
                    <a:pt x="5" y="6"/>
                    <a:pt x="5" y="6"/>
                  </a:cubicBezTo>
                  <a:cubicBezTo>
                    <a:pt x="6" y="8"/>
                    <a:pt x="7" y="8"/>
                    <a:pt x="7" y="8"/>
                  </a:cubicBezTo>
                  <a:cubicBezTo>
                    <a:pt x="8" y="9"/>
                    <a:pt x="7" y="11"/>
                    <a:pt x="7" y="11"/>
                  </a:cubicBezTo>
                  <a:cubicBezTo>
                    <a:pt x="6" y="12"/>
                    <a:pt x="6" y="13"/>
                    <a:pt x="6" y="13"/>
                  </a:cubicBezTo>
                  <a:cubicBezTo>
                    <a:pt x="5" y="16"/>
                    <a:pt x="2" y="19"/>
                    <a:pt x="2" y="19"/>
                  </a:cubicBezTo>
                  <a:cubicBezTo>
                    <a:pt x="0" y="21"/>
                    <a:pt x="3" y="25"/>
                    <a:pt x="3" y="25"/>
                  </a:cubicBezTo>
                  <a:cubicBezTo>
                    <a:pt x="4" y="28"/>
                    <a:pt x="8" y="22"/>
                    <a:pt x="8" y="22"/>
                  </a:cubicBezTo>
                  <a:cubicBezTo>
                    <a:pt x="8" y="21"/>
                    <a:pt x="9" y="21"/>
                    <a:pt x="9" y="21"/>
                  </a:cubicBezTo>
                  <a:cubicBezTo>
                    <a:pt x="10" y="20"/>
                    <a:pt x="10" y="19"/>
                    <a:pt x="10" y="19"/>
                  </a:cubicBezTo>
                  <a:cubicBezTo>
                    <a:pt x="12" y="16"/>
                    <a:pt x="14" y="13"/>
                    <a:pt x="14" y="13"/>
                  </a:cubicBezTo>
                  <a:cubicBezTo>
                    <a:pt x="15" y="12"/>
                    <a:pt x="17" y="6"/>
                    <a:pt x="17" y="6"/>
                  </a:cubicBezTo>
                  <a:cubicBezTo>
                    <a:pt x="18" y="6"/>
                    <a:pt x="17" y="4"/>
                    <a:pt x="17" y="4"/>
                  </a:cubicBezTo>
                  <a:cubicBezTo>
                    <a:pt x="17" y="3"/>
                    <a:pt x="12" y="1"/>
                    <a:pt x="12" y="1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6" y="0"/>
                    <a:pt x="4" y="0"/>
                    <a:pt x="4" y="0"/>
                  </a:cubicBezTo>
                  <a:cubicBezTo>
                    <a:pt x="1" y="1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70">
              <a:extLst>
                <a:ext uri="{FF2B5EF4-FFF2-40B4-BE49-F238E27FC236}">
                  <a16:creationId xmlns:a16="http://schemas.microsoft.com/office/drawing/2014/main" id="{BDF63ECB-E04D-4D9E-83A7-219A2ADA2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7745" y="4565023"/>
              <a:ext cx="68263" cy="63500"/>
            </a:xfrm>
            <a:custGeom>
              <a:avLst/>
              <a:gdLst>
                <a:gd name="T0" fmla="*/ 25 w 37"/>
                <a:gd name="T1" fmla="*/ 32 h 34"/>
                <a:gd name="T2" fmla="*/ 35 w 37"/>
                <a:gd name="T3" fmla="*/ 23 h 34"/>
                <a:gd name="T4" fmla="*/ 35 w 37"/>
                <a:gd name="T5" fmla="*/ 10 h 34"/>
                <a:gd name="T6" fmla="*/ 27 w 37"/>
                <a:gd name="T7" fmla="*/ 2 h 34"/>
                <a:gd name="T8" fmla="*/ 13 w 37"/>
                <a:gd name="T9" fmla="*/ 3 h 34"/>
                <a:gd name="T10" fmla="*/ 2 w 37"/>
                <a:gd name="T11" fmla="*/ 12 h 34"/>
                <a:gd name="T12" fmla="*/ 2 w 37"/>
                <a:gd name="T13" fmla="*/ 24 h 34"/>
                <a:gd name="T14" fmla="*/ 11 w 37"/>
                <a:gd name="T15" fmla="*/ 33 h 34"/>
                <a:gd name="T16" fmla="*/ 25 w 37"/>
                <a:gd name="T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4">
                  <a:moveTo>
                    <a:pt x="25" y="32"/>
                  </a:moveTo>
                  <a:cubicBezTo>
                    <a:pt x="30" y="29"/>
                    <a:pt x="34" y="26"/>
                    <a:pt x="35" y="23"/>
                  </a:cubicBezTo>
                  <a:cubicBezTo>
                    <a:pt x="37" y="19"/>
                    <a:pt x="37" y="15"/>
                    <a:pt x="35" y="10"/>
                  </a:cubicBezTo>
                  <a:cubicBezTo>
                    <a:pt x="33" y="6"/>
                    <a:pt x="31" y="3"/>
                    <a:pt x="27" y="2"/>
                  </a:cubicBezTo>
                  <a:cubicBezTo>
                    <a:pt x="23" y="0"/>
                    <a:pt x="18" y="0"/>
                    <a:pt x="13" y="3"/>
                  </a:cubicBezTo>
                  <a:cubicBezTo>
                    <a:pt x="7" y="5"/>
                    <a:pt x="4" y="8"/>
                    <a:pt x="2" y="12"/>
                  </a:cubicBezTo>
                  <a:cubicBezTo>
                    <a:pt x="0" y="16"/>
                    <a:pt x="0" y="20"/>
                    <a:pt x="2" y="24"/>
                  </a:cubicBezTo>
                  <a:cubicBezTo>
                    <a:pt x="4" y="28"/>
                    <a:pt x="7" y="31"/>
                    <a:pt x="11" y="33"/>
                  </a:cubicBezTo>
                  <a:cubicBezTo>
                    <a:pt x="14" y="34"/>
                    <a:pt x="19" y="34"/>
                    <a:pt x="2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55" name="矩形 54">
            <a:extLst>
              <a:ext uri="{FF2B5EF4-FFF2-40B4-BE49-F238E27FC236}">
                <a16:creationId xmlns:a16="http://schemas.microsoft.com/office/drawing/2014/main" id="{7C070401-592E-44D7-984E-F9FA8BBF29EA}"/>
              </a:ext>
            </a:extLst>
          </p:cNvPr>
          <p:cNvSpPr/>
          <p:nvPr userDrawn="1"/>
        </p:nvSpPr>
        <p:spPr>
          <a:xfrm>
            <a:off x="0" y="0"/>
            <a:ext cx="12192000" cy="1140465"/>
          </a:xfrm>
          <a:prstGeom prst="rect">
            <a:avLst/>
          </a:prstGeom>
          <a:solidFill>
            <a:srgbClr val="00113E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FEF23FB8-F858-4EF4-9A4C-8B27C02D4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99443" y="6580053"/>
            <a:ext cx="1330959" cy="203465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6F7494B1-89CC-4440-9787-AE3C0855C84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10600" y="6626002"/>
            <a:ext cx="2908300" cy="111568"/>
          </a:xfrm>
          <a:prstGeom prst="rect">
            <a:avLst/>
          </a:prstGeom>
        </p:spPr>
      </p:pic>
      <p:sp>
        <p:nvSpPr>
          <p:cNvPr id="53" name="文本占位符 52">
            <a:extLst>
              <a:ext uri="{FF2B5EF4-FFF2-40B4-BE49-F238E27FC236}">
                <a16:creationId xmlns:a16="http://schemas.microsoft.com/office/drawing/2014/main" id="{170122F7-E3E5-48F7-83C3-31548943A36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42552" y="2204791"/>
            <a:ext cx="2706708" cy="2336718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16800">
                <a:gradFill>
                  <a:gsLst>
                    <a:gs pos="0">
                      <a:schemeClr val="accent1">
                        <a:alpha val="9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  <a:alpha val="0"/>
                      </a:schemeClr>
                    </a:gs>
                  </a:gsLst>
                  <a:lin ang="5400000" scaled="1"/>
                </a:gradFill>
                <a:latin typeface="Impact" panose="020B080603090205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altLang="zh-CN" dirty="0"/>
              <a:t>00</a:t>
            </a:r>
            <a:endParaRPr lang="zh-CN" altLang="en-US" dirty="0"/>
          </a:p>
        </p:txBody>
      </p:sp>
      <p:sp>
        <p:nvSpPr>
          <p:cNvPr id="27" name="标题 26">
            <a:extLst>
              <a:ext uri="{FF2B5EF4-FFF2-40B4-BE49-F238E27FC236}">
                <a16:creationId xmlns:a16="http://schemas.microsoft.com/office/drawing/2014/main" id="{1CA0DE95-F720-474E-97A3-DACAD6C3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42552" y="3689995"/>
            <a:ext cx="4012560" cy="552357"/>
          </a:xfrm>
        </p:spPr>
        <p:txBody>
          <a:bodyPr lIns="0">
            <a:noAutofit/>
          </a:bodyPr>
          <a:lstStyle>
            <a:lvl1pPr algn="l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zh-CN" altLang="en-US" dirty="0"/>
              <a:t>章节题目</a:t>
            </a:r>
          </a:p>
        </p:txBody>
      </p:sp>
      <p:pic>
        <p:nvPicPr>
          <p:cNvPr id="56" name="图片 55">
            <a:extLst>
              <a:ext uri="{FF2B5EF4-FFF2-40B4-BE49-F238E27FC236}">
                <a16:creationId xmlns:a16="http://schemas.microsoft.com/office/drawing/2014/main" id="{A5B702B5-21F7-4463-8119-20EDC12691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0401" y="611569"/>
            <a:ext cx="1747519" cy="417129"/>
          </a:xfrm>
          <a:prstGeom prst="rect">
            <a:avLst/>
          </a:prstGeom>
        </p:spPr>
      </p:pic>
      <p:sp>
        <p:nvSpPr>
          <p:cNvPr id="58" name="文本占位符 57">
            <a:extLst>
              <a:ext uri="{FF2B5EF4-FFF2-40B4-BE49-F238E27FC236}">
                <a16:creationId xmlns:a16="http://schemas.microsoft.com/office/drawing/2014/main" id="{B7188D90-168E-4649-910B-8A6A3BD06B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2552" y="4305568"/>
            <a:ext cx="4012560" cy="471882"/>
          </a:xfrm>
        </p:spPr>
        <p:txBody>
          <a:bodyPr lIns="0">
            <a:noAutofit/>
          </a:bodyPr>
          <a:lstStyle>
            <a:lvl1pPr marL="0" indent="0" algn="l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 dirty="0"/>
              <a:t>插入章节描述或者英文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2D5F2F7C-B6BB-4975-90FC-43129AC459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30441" y="715440"/>
            <a:ext cx="4188460" cy="287835"/>
          </a:xfrm>
        </p:spPr>
        <p:txBody>
          <a:bodyPr rIns="0" bIns="0" anchor="b" anchorCtr="0">
            <a:normAutofit/>
          </a:bodyPr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 dirty="0"/>
              <a:t>这里可以输入你的课题题目</a:t>
            </a:r>
          </a:p>
        </p:txBody>
      </p:sp>
    </p:spTree>
    <p:extLst>
      <p:ext uri="{BB962C8B-B14F-4D97-AF65-F5344CB8AC3E}">
        <p14:creationId xmlns:p14="http://schemas.microsoft.com/office/powerpoint/2010/main" val="1031095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07795F9-E4DC-46EC-B86D-320C2C38EF29}" type="datetime1">
              <a:rPr lang="zh-CN" altLang="en-US" smtClean="0"/>
              <a:t>2019/7/16 Tuesday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://www.bootstrapmb.com/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blog.csdn.net/qq_23994787/article/details/73612870?tdsourcetag=s_pctim_aiomsg" TargetMode="Externa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1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jpg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实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训汇报</a:t>
            </a:r>
            <a:endParaRPr lang="en-US" altLang="zh-CN" sz="2400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b="0" dirty="0" smtClean="0">
                <a:solidFill>
                  <a:schemeClr val="accent1">
                    <a:lumMod val="90000"/>
                    <a:lumOff val="10000"/>
                  </a:schemeClr>
                </a:solidFill>
                <a:latin typeface="Arial Black" panose="020B0A04020102020204" pitchFamily="34" charset="0"/>
              </a:rPr>
              <a:t>The first Group</a:t>
            </a:r>
            <a:r>
              <a:rPr lang="en-US" altLang="zh-CN" b="0" baseline="30000" dirty="0" smtClean="0">
                <a:solidFill>
                  <a:schemeClr val="accent1">
                    <a:lumMod val="90000"/>
                    <a:lumOff val="10000"/>
                  </a:schemeClr>
                </a:solidFill>
                <a:latin typeface="Arial Black" panose="020B0A04020102020204" pitchFamily="34" charset="0"/>
              </a:rPr>
              <a:t>®</a:t>
            </a:r>
            <a:r>
              <a:rPr lang="en-US" altLang="zh-CN" b="0" baseline="3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Arial Black" panose="020B0A04020102020204" pitchFamily="34" charset="0"/>
              </a:rPr>
              <a:t/>
            </a:r>
            <a:br>
              <a:rPr lang="en-US" altLang="zh-CN" b="0" baseline="3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Arial Black" panose="020B0A04020102020204" pitchFamily="34" charset="0"/>
              </a:rPr>
            </a:br>
            <a:r>
              <a:rPr lang="zh-CN" altLang="en-US" sz="6600" dirty="0" smtClean="0">
                <a:solidFill>
                  <a:schemeClr val="accent1">
                    <a:lumMod val="90000"/>
                    <a:lumOff val="10000"/>
                  </a:schemeClr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人力资源管理系统开发</a:t>
            </a:r>
            <a:r>
              <a:rPr lang="en-US" altLang="zh-CN" sz="66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/>
            </a:r>
            <a:br>
              <a:rPr lang="en-US" altLang="zh-CN" sz="66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</a:br>
            <a:r>
              <a:rPr lang="en-US" altLang="zh-CN" sz="4400" dirty="0"/>
              <a:t>- </a:t>
            </a:r>
            <a:r>
              <a:rPr lang="en-US" altLang="zh-CN" sz="2800" dirty="0" smtClean="0"/>
              <a:t>Human </a:t>
            </a:r>
            <a:r>
              <a:rPr lang="en-US" altLang="zh-CN" sz="2800" dirty="0"/>
              <a:t>Resource Management System </a:t>
            </a:r>
            <a:r>
              <a:rPr lang="en-US" altLang="zh-CN" dirty="0"/>
              <a:t>-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2400" b="1" spc="3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王彤 徐文文 师普</a:t>
            </a:r>
            <a:endParaRPr lang="en-US" altLang="zh-CN" sz="2400" b="1" spc="300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z="1600" spc="300" dirty="0" smtClean="0"/>
              <a:t>2019-7-16</a:t>
            </a:r>
            <a:endParaRPr lang="en-US" altLang="en-US" sz="1600" spc="300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前端开发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——</a:t>
            </a:r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界面设计</a:t>
            </a:r>
            <a:endParaRPr lang="zh-CN" altLang="en-US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1480" y="1028700"/>
            <a:ext cx="6623522" cy="397987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1681" y="2390578"/>
            <a:ext cx="6626462" cy="398164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220" y="1028700"/>
            <a:ext cx="10172700" cy="5659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88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前端开发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——</a:t>
            </a:r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模板修改</a:t>
            </a:r>
            <a:endParaRPr lang="zh-CN" altLang="en-US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4435535" y="612170"/>
            <a:ext cx="51989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2"/>
              </a:rPr>
              <a:t>http://www.bootstrapmb.com</a:t>
            </a:r>
            <a:r>
              <a:rPr lang="en-US" altLang="zh-CN" dirty="0" smtClean="0">
                <a:hlinkClick r:id="rId2"/>
              </a:rPr>
              <a:t>/</a:t>
            </a:r>
            <a:r>
              <a:rPr lang="en-US" altLang="zh-CN" dirty="0" smtClean="0"/>
              <a:t> </a:t>
            </a:r>
            <a:r>
              <a:rPr lang="en-US" altLang="zh-CN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Bootstrap </a:t>
            </a:r>
            <a:r>
              <a:rPr lang="zh-CN" altLang="en-US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模板网站</a:t>
            </a:r>
            <a:endParaRPr lang="zh-CN" altLang="en-US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3094" y="1130300"/>
            <a:ext cx="5347064" cy="3903552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63535" y="1856436"/>
            <a:ext cx="5347064" cy="390355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79867" y="2684173"/>
            <a:ext cx="5347064" cy="390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474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前端开发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——</a:t>
            </a:r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开发界面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5" y="1028700"/>
            <a:ext cx="8340726" cy="3821814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0310" y="1307606"/>
            <a:ext cx="8355233" cy="3821814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56420" y="1591759"/>
            <a:ext cx="8664067" cy="3850059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383" y="2053597"/>
            <a:ext cx="7854149" cy="3666373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6491" y="2517541"/>
            <a:ext cx="8576944" cy="3715663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583" y="2895862"/>
            <a:ext cx="8659649" cy="3962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639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后端</a:t>
            </a:r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设计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——</a:t>
            </a:r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博客学习</a:t>
            </a:r>
            <a:endParaRPr lang="zh-CN" altLang="en-US" b="0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451194" y="1796023"/>
            <a:ext cx="7084423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在</a:t>
            </a:r>
            <a:r>
              <a:rPr lang="en-US" altLang="zh-CN" sz="2400" dirty="0" err="1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util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下新建一个</a:t>
            </a:r>
            <a:r>
              <a:rPr lang="en-US" altLang="zh-CN" sz="2400" dirty="0" err="1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DBconn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类处理数据库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的连接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操作</a:t>
            </a:r>
            <a:endParaRPr lang="en-US" altLang="zh-CN" sz="2400" dirty="0" smtClean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在</a:t>
            </a:r>
            <a:r>
              <a:rPr lang="en-US" altLang="zh-CN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entity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下新建一个</a:t>
            </a:r>
            <a:r>
              <a:rPr lang="en-US" altLang="zh-CN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User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实体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类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 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在</a:t>
            </a:r>
            <a:r>
              <a:rPr lang="en-US" altLang="zh-CN" sz="2400" dirty="0" err="1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dao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下新建一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</a:t>
            </a:r>
            <a:r>
              <a:rPr lang="en-US" altLang="zh-CN" sz="2400" dirty="0" err="1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connectionDao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接口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，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以及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对应的方法实现类（</a:t>
            </a:r>
            <a:r>
              <a:rPr lang="zh-CN" altLang="en-US" sz="240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使用</a:t>
            </a:r>
            <a:r>
              <a:rPr lang="zh-CN" altLang="en-US" sz="240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接口是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为了规范开发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）</a:t>
            </a:r>
            <a:endParaRPr lang="en-US" altLang="zh-CN" sz="2400" dirty="0" smtClean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新建</a:t>
            </a:r>
            <a:r>
              <a:rPr lang="en-US" altLang="zh-CN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connectionDaoImpl.java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，实现</a:t>
            </a:r>
            <a:r>
              <a:rPr lang="en-US" altLang="zh-CN" sz="2400" err="1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connectionDao</a:t>
            </a:r>
            <a:r>
              <a:rPr lang="zh-CN" altLang="en-US" sz="240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接口及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未实现的方法    </a:t>
            </a:r>
            <a:endParaRPr lang="en-US" altLang="zh-CN" sz="2400" dirty="0" smtClean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在</a:t>
            </a:r>
            <a:r>
              <a:rPr lang="en-US" altLang="zh-CN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servlet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下创建</a:t>
            </a:r>
            <a:r>
              <a:rPr lang="en-US" altLang="zh-CN" sz="2400" dirty="0" err="1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DengluServlet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实现用户</a:t>
            </a:r>
            <a:r>
              <a:rPr lang="zh-CN" altLang="en-US" sz="24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登录的</a:t>
            </a:r>
            <a:r>
              <a:rPr lang="zh-CN" altLang="en-US" sz="24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操作</a:t>
            </a:r>
            <a:endParaRPr lang="en-US" altLang="zh-CN" sz="2400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5617" y="1038133"/>
            <a:ext cx="3019048" cy="382857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59095" y="1621779"/>
            <a:ext cx="3000000" cy="383809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2402" y="2166155"/>
            <a:ext cx="3000000" cy="3809524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68191" y="2643079"/>
            <a:ext cx="3123809" cy="3819048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503147" y="436347"/>
            <a:ext cx="76888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  <a:hlinkClick r:id="rId6"/>
              </a:rPr>
              <a:t>https</a:t>
            </a:r>
            <a:r>
              <a:rPr lang="en-US" altLang="zh-CN" dirty="0">
                <a:latin typeface="方正粗黑宋简体" panose="02000000000000000000" pitchFamily="2" charset="-122"/>
                <a:ea typeface="方正粗黑宋简体" panose="02000000000000000000" pitchFamily="2" charset="-122"/>
                <a:hlinkClick r:id="rId6"/>
              </a:rPr>
              <a:t>://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  <a:hlinkClick r:id="rId6"/>
              </a:rPr>
              <a:t>blog.csdn.net/qq_23994787/article/details/73612870?tdsourcetag=s_pctim_aiomsg</a:t>
            </a:r>
            <a:endParaRPr lang="en-US" altLang="zh-CN" dirty="0" smtClean="0"/>
          </a:p>
          <a:p>
            <a:endParaRPr lang="en-US" altLang="zh-CN" dirty="0" smtClean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52078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前后端交互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——</a:t>
            </a:r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连接数据库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+</a:t>
            </a:r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服务器</a:t>
            </a:r>
            <a:endParaRPr lang="zh-CN" altLang="en-US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/>
          <a:srcRect l="923"/>
          <a:stretch/>
        </p:blipFill>
        <p:spPr>
          <a:xfrm>
            <a:off x="647699" y="1235957"/>
            <a:ext cx="7464335" cy="4833078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2328247" y="1653283"/>
            <a:ext cx="7533916" cy="4793561"/>
            <a:chOff x="2328247" y="1653283"/>
            <a:chExt cx="7533916" cy="4793561"/>
          </a:xfrm>
        </p:grpSpPr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28247" y="1653283"/>
              <a:ext cx="7533916" cy="4793561"/>
            </a:xfrm>
            <a:prstGeom prst="rect">
              <a:avLst/>
            </a:prstGeom>
          </p:spPr>
        </p:pic>
        <p:sp>
          <p:nvSpPr>
            <p:cNvPr id="5" name="矩形 4"/>
            <p:cNvSpPr/>
            <p:nvPr/>
          </p:nvSpPr>
          <p:spPr>
            <a:xfrm>
              <a:off x="6466114" y="4140926"/>
              <a:ext cx="640080" cy="13062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4"/>
          <a:srcRect l="620" t="1808" r="-1" b="1046"/>
          <a:stretch/>
        </p:blipFill>
        <p:spPr>
          <a:xfrm>
            <a:off x="3765907" y="2099540"/>
            <a:ext cx="7533916" cy="4793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752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>
            <a:extLst>
              <a:ext uri="{FF2B5EF4-FFF2-40B4-BE49-F238E27FC236}">
                <a16:creationId xmlns:a16="http://schemas.microsoft.com/office/drawing/2014/main" id="{FF10B8FB-2273-41B7-8E1F-926DBE7889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03</a:t>
            </a:r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E0FF230A-246B-4B62-806B-74825E33A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功能演示</a:t>
            </a:r>
            <a:endParaRPr lang="zh-CN" altLang="en-US" b="0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18" name="文本占位符 17">
            <a:extLst>
              <a:ext uri="{FF2B5EF4-FFF2-40B4-BE49-F238E27FC236}">
                <a16:creationId xmlns:a16="http://schemas.microsoft.com/office/drawing/2014/main" id="{BA7A27FB-D900-4265-A649-5670F758F5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42552" y="4305568"/>
            <a:ext cx="4432124" cy="471882"/>
          </a:xfrm>
        </p:spPr>
        <p:txBody>
          <a:bodyPr/>
          <a:lstStyle/>
          <a:p>
            <a:r>
              <a:rPr lang="en-US" altLang="zh-CN" dirty="0"/>
              <a:t>Functional Demonstration</a:t>
            </a:r>
          </a:p>
        </p:txBody>
      </p:sp>
      <p:sp>
        <p:nvSpPr>
          <p:cNvPr id="23" name="文本占位符 22">
            <a:extLst>
              <a:ext uri="{FF2B5EF4-FFF2-40B4-BE49-F238E27FC236}">
                <a16:creationId xmlns:a16="http://schemas.microsoft.com/office/drawing/2014/main" id="{CD512192-B602-40AF-AD7D-06B990B43C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zh-CN" altLang="en-US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人力资源管理系统开发</a:t>
            </a:r>
            <a:endParaRPr lang="zh-CN" altLang="en-US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820D1AB-7AB0-46B9-A544-5A22C9D2AD6A}"/>
              </a:ext>
            </a:extLst>
          </p:cNvPr>
          <p:cNvSpPr/>
          <p:nvPr/>
        </p:nvSpPr>
        <p:spPr>
          <a:xfrm>
            <a:off x="673100" y="5999480"/>
            <a:ext cx="134620" cy="1346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2D46A45-1469-4EBB-8A8D-82D3787D02BA}"/>
              </a:ext>
            </a:extLst>
          </p:cNvPr>
          <p:cNvSpPr/>
          <p:nvPr/>
        </p:nvSpPr>
        <p:spPr>
          <a:xfrm>
            <a:off x="875031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2289554-1D42-469B-83B0-740899C01652}"/>
              </a:ext>
            </a:extLst>
          </p:cNvPr>
          <p:cNvSpPr/>
          <p:nvPr/>
        </p:nvSpPr>
        <p:spPr>
          <a:xfrm>
            <a:off x="1076960" y="5999480"/>
            <a:ext cx="134620" cy="134620"/>
          </a:xfrm>
          <a:prstGeom prst="rect">
            <a:avLst/>
          </a:prstGeom>
          <a:solidFill>
            <a:srgbClr val="01113E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C5FF172-CB5F-43BB-81CB-9E1FFA866959}"/>
              </a:ext>
            </a:extLst>
          </p:cNvPr>
          <p:cNvSpPr/>
          <p:nvPr/>
        </p:nvSpPr>
        <p:spPr>
          <a:xfrm>
            <a:off x="127889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6372E00D-D69E-4470-A41F-1819A83C2FA3}"/>
              </a:ext>
            </a:extLst>
          </p:cNvPr>
          <p:cNvSpPr/>
          <p:nvPr/>
        </p:nvSpPr>
        <p:spPr>
          <a:xfrm>
            <a:off x="148082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207B1B1-F689-46DE-956A-24EC1FBD99EA}"/>
              </a:ext>
            </a:extLst>
          </p:cNvPr>
          <p:cNvSpPr/>
          <p:nvPr/>
        </p:nvSpPr>
        <p:spPr>
          <a:xfrm>
            <a:off x="168275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0552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功能亮点总结</a:t>
            </a:r>
            <a:endParaRPr lang="zh-CN" altLang="en-US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7" name="27190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151553" y="1356577"/>
            <a:ext cx="10368934" cy="4883886"/>
            <a:chOff x="929306" y="1130300"/>
            <a:chExt cx="10623631" cy="5003838"/>
          </a:xfrm>
        </p:grpSpPr>
        <p:sp>
          <p:nvSpPr>
            <p:cNvPr id="9" name="ïṣlíḍé">
              <a:extLst>
                <a:ext uri="{FF2B5EF4-FFF2-40B4-BE49-F238E27FC236}">
                  <a16:creationId xmlns:a16="http://schemas.microsoft.com/office/drawing/2014/main" id="{A759F301-DAE5-420B-B250-CB09FEC61B5B}"/>
                </a:ext>
              </a:extLst>
            </p:cNvPr>
            <p:cNvSpPr txBox="1"/>
            <p:nvPr/>
          </p:nvSpPr>
          <p:spPr>
            <a:xfrm>
              <a:off x="4123944" y="1297422"/>
              <a:ext cx="7394956" cy="1299105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altLang="zh-CN" dirty="0"/>
            </a:p>
          </p:txBody>
        </p:sp>
        <p:sp>
          <p:nvSpPr>
            <p:cNvPr id="10" name="íSḷïḑe">
              <a:extLst>
                <a:ext uri="{FF2B5EF4-FFF2-40B4-BE49-F238E27FC236}">
                  <a16:creationId xmlns:a16="http://schemas.microsoft.com/office/drawing/2014/main" id="{B503BAEC-2EF9-4230-9E86-E470958021CD}"/>
                </a:ext>
              </a:extLst>
            </p:cNvPr>
            <p:cNvSpPr/>
            <p:nvPr/>
          </p:nvSpPr>
          <p:spPr bwMode="gray">
            <a:xfrm>
              <a:off x="4123944" y="1612176"/>
              <a:ext cx="7394955" cy="99701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2400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根据登录的不同情况跳转不同身份对应的页面</a:t>
              </a:r>
              <a:endParaRPr lang="en-US" altLang="zh-CN" sz="2400" dirty="0">
                <a:solidFill>
                  <a:schemeClr val="tx1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endParaRPr>
            </a:p>
          </p:txBody>
        </p:sp>
        <p:sp>
          <p:nvSpPr>
            <p:cNvPr id="13" name="i$ḻíḋè">
              <a:extLst>
                <a:ext uri="{FF2B5EF4-FFF2-40B4-BE49-F238E27FC236}">
                  <a16:creationId xmlns:a16="http://schemas.microsoft.com/office/drawing/2014/main" id="{C7670901-67CA-46BA-BC8D-89E581F012D7}"/>
                </a:ext>
              </a:extLst>
            </p:cNvPr>
            <p:cNvSpPr txBox="1"/>
            <p:nvPr/>
          </p:nvSpPr>
          <p:spPr>
            <a:xfrm>
              <a:off x="4123944" y="3066227"/>
              <a:ext cx="7394956" cy="12991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altLang="zh-CN" dirty="0"/>
            </a:p>
          </p:txBody>
        </p:sp>
        <p:sp>
          <p:nvSpPr>
            <p:cNvPr id="14" name="ïS1iḓe">
              <a:extLst>
                <a:ext uri="{FF2B5EF4-FFF2-40B4-BE49-F238E27FC236}">
                  <a16:creationId xmlns:a16="http://schemas.microsoft.com/office/drawing/2014/main" id="{749BA7D2-A912-49FD-B4D7-8806BFB5E76D}"/>
                </a:ext>
              </a:extLst>
            </p:cNvPr>
            <p:cNvSpPr/>
            <p:nvPr/>
          </p:nvSpPr>
          <p:spPr bwMode="gray">
            <a:xfrm>
              <a:off x="4123944" y="3380981"/>
              <a:ext cx="7394955" cy="99701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900" indent="-342900" algn="just">
                <a:buFont typeface="Wingdings" panose="05000000000000000000" pitchFamily="2" charset="2"/>
                <a:buChar char="u"/>
              </a:pPr>
              <a:r>
                <a:rPr lang="zh-CN" altLang="en-US" sz="2400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员工信息</a:t>
              </a:r>
              <a:r>
                <a:rPr lang="zh-CN" altLang="en-US" sz="240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编辑</a:t>
              </a:r>
              <a:r>
                <a:rPr lang="zh-CN" altLang="en-US" sz="2400" smtClean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更新在</a:t>
              </a:r>
              <a:r>
                <a:rPr lang="zh-CN" altLang="en-US" sz="240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当前</a:t>
              </a:r>
              <a:r>
                <a:rPr lang="zh-CN" altLang="en-US" sz="2400" smtClean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页面实时刷新</a:t>
              </a:r>
              <a:r>
                <a:rPr lang="zh-CN" altLang="en-US" sz="2400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显示结果</a:t>
              </a:r>
              <a:endParaRPr lang="zh-CN" altLang="en-US" sz="2400" kern="100" dirty="0">
                <a:solidFill>
                  <a:schemeClr val="tx1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15" name="ïṥľîdè">
              <a:extLst>
                <a:ext uri="{FF2B5EF4-FFF2-40B4-BE49-F238E27FC236}">
                  <a16:creationId xmlns:a16="http://schemas.microsoft.com/office/drawing/2014/main" id="{B8AEA6B6-BA87-4FC6-9C63-14693C2EA7D3}"/>
                </a:ext>
              </a:extLst>
            </p:cNvPr>
            <p:cNvSpPr txBox="1"/>
            <p:nvPr/>
          </p:nvSpPr>
          <p:spPr>
            <a:xfrm>
              <a:off x="4123944" y="4835033"/>
              <a:ext cx="7394956" cy="1299105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altLang="zh-CN" dirty="0"/>
            </a:p>
          </p:txBody>
        </p:sp>
        <p:sp>
          <p:nvSpPr>
            <p:cNvPr id="16" name="isľíḓê">
              <a:extLst>
                <a:ext uri="{FF2B5EF4-FFF2-40B4-BE49-F238E27FC236}">
                  <a16:creationId xmlns:a16="http://schemas.microsoft.com/office/drawing/2014/main" id="{994794E0-BA81-4E07-9700-055211CECB72}"/>
                </a:ext>
              </a:extLst>
            </p:cNvPr>
            <p:cNvSpPr/>
            <p:nvPr/>
          </p:nvSpPr>
          <p:spPr bwMode="auto">
            <a:xfrm>
              <a:off x="4341196" y="1130300"/>
              <a:ext cx="2864276" cy="334245"/>
            </a:xfrm>
            <a:prstGeom prst="homePlate">
              <a:avLst/>
            </a:prstGeom>
            <a:solidFill>
              <a:srgbClr val="01113E"/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altLang="zh-CN" sz="1600" b="1" kern="0" dirty="0" smtClean="0">
                  <a:solidFill>
                    <a:srgbClr val="FFFFFF"/>
                  </a:solidFill>
                </a:rPr>
                <a:t>01</a:t>
              </a:r>
              <a:endParaRPr lang="zh-CN" altLang="en-US" sz="16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17" name="íŝ1iḓè">
              <a:extLst>
                <a:ext uri="{FF2B5EF4-FFF2-40B4-BE49-F238E27FC236}">
                  <a16:creationId xmlns:a16="http://schemas.microsoft.com/office/drawing/2014/main" id="{6CC20CEC-9AA5-458F-894D-628638EB3C1C}"/>
                </a:ext>
              </a:extLst>
            </p:cNvPr>
            <p:cNvSpPr/>
            <p:nvPr/>
          </p:nvSpPr>
          <p:spPr bwMode="auto">
            <a:xfrm>
              <a:off x="4341196" y="2899105"/>
              <a:ext cx="2864276" cy="334245"/>
            </a:xfrm>
            <a:prstGeom prst="homePlate">
              <a:avLst/>
            </a:prstGeom>
            <a:solidFill>
              <a:srgbClr val="01113E"/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altLang="zh-CN" sz="1600" b="1" kern="0" smtClean="0">
                  <a:solidFill>
                    <a:srgbClr val="FFFFFF"/>
                  </a:solidFill>
                </a:rPr>
                <a:t>02</a:t>
              </a:r>
              <a:endParaRPr lang="zh-CN" altLang="en-US" sz="16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18" name="íṣḻïde">
              <a:extLst>
                <a:ext uri="{FF2B5EF4-FFF2-40B4-BE49-F238E27FC236}">
                  <a16:creationId xmlns:a16="http://schemas.microsoft.com/office/drawing/2014/main" id="{484C7CF1-ECCA-4C37-800D-7B14B7382E4F}"/>
                </a:ext>
              </a:extLst>
            </p:cNvPr>
            <p:cNvSpPr/>
            <p:nvPr/>
          </p:nvSpPr>
          <p:spPr bwMode="auto">
            <a:xfrm>
              <a:off x="4341196" y="4667911"/>
              <a:ext cx="2864276" cy="334245"/>
            </a:xfrm>
            <a:prstGeom prst="homePlate">
              <a:avLst/>
            </a:prstGeom>
            <a:solidFill>
              <a:srgbClr val="01113E"/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r>
                <a:rPr lang="en-US" altLang="zh-CN" sz="1600" b="1" kern="0" dirty="0" smtClean="0">
                  <a:solidFill>
                    <a:srgbClr val="FFFFFF"/>
                  </a:solidFill>
                </a:rPr>
                <a:t>03</a:t>
              </a:r>
              <a:endParaRPr lang="zh-CN" altLang="en-US" sz="16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19" name="ïs1ïḓê">
              <a:extLst>
                <a:ext uri="{FF2B5EF4-FFF2-40B4-BE49-F238E27FC236}">
                  <a16:creationId xmlns:a16="http://schemas.microsoft.com/office/drawing/2014/main" id="{DC6EB17D-1CB2-4E2C-ACCB-10CF82D586CD}"/>
                </a:ext>
              </a:extLst>
            </p:cNvPr>
            <p:cNvSpPr/>
            <p:nvPr/>
          </p:nvSpPr>
          <p:spPr bwMode="gray">
            <a:xfrm>
              <a:off x="4157982" y="4986079"/>
              <a:ext cx="7394955" cy="99701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u"/>
              </a:pPr>
              <a:r>
                <a:rPr lang="zh-CN" altLang="en-US" sz="2400" smtClean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人力资源统计</a:t>
              </a:r>
              <a:r>
                <a:rPr lang="zh-CN" altLang="en-US" sz="2400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功能</a:t>
              </a:r>
              <a:endParaRPr lang="en-US" altLang="zh-CN" sz="2400" dirty="0">
                <a:solidFill>
                  <a:schemeClr val="tx1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endParaRPr>
            </a:p>
          </p:txBody>
        </p:sp>
        <p:grpSp>
          <p:nvGrpSpPr>
            <p:cNvPr id="20" name="îš1ïdè">
              <a:extLst>
                <a:ext uri="{FF2B5EF4-FFF2-40B4-BE49-F238E27FC236}">
                  <a16:creationId xmlns:a16="http://schemas.microsoft.com/office/drawing/2014/main" id="{B346AE1D-53C0-4830-8F16-8FB2255F43BF}"/>
                </a:ext>
              </a:extLst>
            </p:cNvPr>
            <p:cNvGrpSpPr/>
            <p:nvPr/>
          </p:nvGrpSpPr>
          <p:grpSpPr>
            <a:xfrm>
              <a:off x="965120" y="1709471"/>
              <a:ext cx="3121627" cy="441805"/>
              <a:chOff x="965120" y="1503139"/>
              <a:chExt cx="3121627" cy="441805"/>
            </a:xfrm>
          </p:grpSpPr>
          <p:sp>
            <p:nvSpPr>
              <p:cNvPr id="30" name="iṧḻíďè">
                <a:extLst>
                  <a:ext uri="{FF2B5EF4-FFF2-40B4-BE49-F238E27FC236}">
                    <a16:creationId xmlns:a16="http://schemas.microsoft.com/office/drawing/2014/main" id="{C45CE592-7CC4-4A14-ABF9-780D44B97F93}"/>
                  </a:ext>
                </a:extLst>
              </p:cNvPr>
              <p:cNvSpPr txBox="1"/>
              <p:nvPr/>
            </p:nvSpPr>
            <p:spPr bwMode="auto">
              <a:xfrm>
                <a:off x="1508493" y="1503139"/>
                <a:ext cx="257825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400" b="1" dirty="0" smtClean="0">
                    <a:latin typeface="方正粗黑宋简体" panose="02000000000000000000" pitchFamily="2" charset="-122"/>
                    <a:ea typeface="方正粗黑宋简体" panose="02000000000000000000" pitchFamily="2" charset="-122"/>
                  </a:rPr>
                  <a:t>身份识别</a:t>
                </a:r>
                <a:endParaRPr lang="en-US" altLang="zh-CN" sz="2400" b="1" dirty="0">
                  <a:latin typeface="方正粗黑宋简体" panose="02000000000000000000" pitchFamily="2" charset="-122"/>
                  <a:ea typeface="方正粗黑宋简体" panose="02000000000000000000" pitchFamily="2" charset="-122"/>
                </a:endParaRPr>
              </a:p>
            </p:txBody>
          </p:sp>
          <p:sp>
            <p:nvSpPr>
              <p:cNvPr id="31" name="ïŝļiďé">
                <a:extLst>
                  <a:ext uri="{FF2B5EF4-FFF2-40B4-BE49-F238E27FC236}">
                    <a16:creationId xmlns:a16="http://schemas.microsoft.com/office/drawing/2014/main" id="{A4A0AC20-A973-400C-8E30-142FB00EFEE6}"/>
                  </a:ext>
                </a:extLst>
              </p:cNvPr>
              <p:cNvSpPr/>
              <p:nvPr/>
            </p:nvSpPr>
            <p:spPr bwMode="auto">
              <a:xfrm>
                <a:off x="965120" y="1523420"/>
                <a:ext cx="303378" cy="398217"/>
              </a:xfrm>
              <a:custGeom>
                <a:avLst/>
                <a:gdLst>
                  <a:gd name="connsiteX0" fmla="*/ 192252 w 460721"/>
                  <a:gd name="connsiteY0" fmla="*/ 277757 h 604746"/>
                  <a:gd name="connsiteX1" fmla="*/ 184714 w 460721"/>
                  <a:gd name="connsiteY1" fmla="*/ 309262 h 604746"/>
                  <a:gd name="connsiteX2" fmla="*/ 175010 w 460721"/>
                  <a:gd name="connsiteY2" fmla="*/ 343966 h 604746"/>
                  <a:gd name="connsiteX3" fmla="*/ 211285 w 460721"/>
                  <a:gd name="connsiteY3" fmla="*/ 343966 h 604746"/>
                  <a:gd name="connsiteX4" fmla="*/ 201015 w 460721"/>
                  <a:gd name="connsiteY4" fmla="*/ 309262 h 604746"/>
                  <a:gd name="connsiteX5" fmla="*/ 192817 w 460721"/>
                  <a:gd name="connsiteY5" fmla="*/ 277757 h 604746"/>
                  <a:gd name="connsiteX6" fmla="*/ 291082 w 460721"/>
                  <a:gd name="connsiteY6" fmla="*/ 250013 h 604746"/>
                  <a:gd name="connsiteX7" fmla="*/ 328270 w 460721"/>
                  <a:gd name="connsiteY7" fmla="*/ 250013 h 604746"/>
                  <a:gd name="connsiteX8" fmla="*/ 328270 w 460721"/>
                  <a:gd name="connsiteY8" fmla="*/ 413654 h 604746"/>
                  <a:gd name="connsiteX9" fmla="*/ 291082 w 460721"/>
                  <a:gd name="connsiteY9" fmla="*/ 413654 h 604746"/>
                  <a:gd name="connsiteX10" fmla="*/ 169639 w 460721"/>
                  <a:gd name="connsiteY10" fmla="*/ 250013 h 604746"/>
                  <a:gd name="connsiteX11" fmla="*/ 218351 w 460721"/>
                  <a:gd name="connsiteY11" fmla="*/ 250013 h 604746"/>
                  <a:gd name="connsiteX12" fmla="*/ 269136 w 460721"/>
                  <a:gd name="connsiteY12" fmla="*/ 413654 h 604746"/>
                  <a:gd name="connsiteX13" fmla="*/ 229281 w 460721"/>
                  <a:gd name="connsiteY13" fmla="*/ 413654 h 604746"/>
                  <a:gd name="connsiteX14" fmla="*/ 216655 w 460721"/>
                  <a:gd name="connsiteY14" fmla="*/ 371615 h 604746"/>
                  <a:gd name="connsiteX15" fmla="*/ 169639 w 460721"/>
                  <a:gd name="connsiteY15" fmla="*/ 371615 h 604746"/>
                  <a:gd name="connsiteX16" fmla="*/ 158050 w 460721"/>
                  <a:gd name="connsiteY16" fmla="*/ 413654 h 604746"/>
                  <a:gd name="connsiteX17" fmla="*/ 119608 w 460721"/>
                  <a:gd name="connsiteY17" fmla="*/ 413654 h 604746"/>
                  <a:gd name="connsiteX18" fmla="*/ 292861 w 460721"/>
                  <a:gd name="connsiteY18" fmla="*/ 39225 h 604746"/>
                  <a:gd name="connsiteX19" fmla="*/ 64431 w 460721"/>
                  <a:gd name="connsiteY19" fmla="*/ 39413 h 604746"/>
                  <a:gd name="connsiteX20" fmla="*/ 39469 w 460721"/>
                  <a:gd name="connsiteY20" fmla="*/ 64341 h 604746"/>
                  <a:gd name="connsiteX21" fmla="*/ 39469 w 460721"/>
                  <a:gd name="connsiteY21" fmla="*/ 540311 h 604746"/>
                  <a:gd name="connsiteX22" fmla="*/ 64431 w 460721"/>
                  <a:gd name="connsiteY22" fmla="*/ 565333 h 604746"/>
                  <a:gd name="connsiteX23" fmla="*/ 396290 w 460721"/>
                  <a:gd name="connsiteY23" fmla="*/ 565333 h 604746"/>
                  <a:gd name="connsiteX24" fmla="*/ 421252 w 460721"/>
                  <a:gd name="connsiteY24" fmla="*/ 540311 h 604746"/>
                  <a:gd name="connsiteX25" fmla="*/ 420310 w 460721"/>
                  <a:gd name="connsiteY25" fmla="*/ 167907 h 604746"/>
                  <a:gd name="connsiteX26" fmla="*/ 337605 w 460721"/>
                  <a:gd name="connsiteY26" fmla="*/ 168189 h 604746"/>
                  <a:gd name="connsiteX27" fmla="*/ 292861 w 460721"/>
                  <a:gd name="connsiteY27" fmla="*/ 123508 h 604746"/>
                  <a:gd name="connsiteX28" fmla="*/ 64431 w 460721"/>
                  <a:gd name="connsiteY28" fmla="*/ 0 h 604746"/>
                  <a:gd name="connsiteX29" fmla="*/ 307650 w 460721"/>
                  <a:gd name="connsiteY29" fmla="*/ 0 h 604746"/>
                  <a:gd name="connsiteX30" fmla="*/ 460721 w 460721"/>
                  <a:gd name="connsiteY30" fmla="*/ 152292 h 604746"/>
                  <a:gd name="connsiteX31" fmla="*/ 460721 w 460721"/>
                  <a:gd name="connsiteY31" fmla="*/ 540311 h 604746"/>
                  <a:gd name="connsiteX32" fmla="*/ 396290 w 460721"/>
                  <a:gd name="connsiteY32" fmla="*/ 604746 h 604746"/>
                  <a:gd name="connsiteX33" fmla="*/ 64431 w 460721"/>
                  <a:gd name="connsiteY33" fmla="*/ 604746 h 604746"/>
                  <a:gd name="connsiteX34" fmla="*/ 0 w 460721"/>
                  <a:gd name="connsiteY34" fmla="*/ 540311 h 604746"/>
                  <a:gd name="connsiteX35" fmla="*/ 0 w 460721"/>
                  <a:gd name="connsiteY35" fmla="*/ 64341 h 604746"/>
                  <a:gd name="connsiteX36" fmla="*/ 64431 w 460721"/>
                  <a:gd name="connsiteY36" fmla="*/ 0 h 604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460721" h="604746">
                    <a:moveTo>
                      <a:pt x="192252" y="277757"/>
                    </a:moveTo>
                    <a:cubicBezTo>
                      <a:pt x="189897" y="287444"/>
                      <a:pt x="187447" y="299858"/>
                      <a:pt x="184714" y="309262"/>
                    </a:cubicBezTo>
                    <a:lnTo>
                      <a:pt x="175010" y="343966"/>
                    </a:lnTo>
                    <a:lnTo>
                      <a:pt x="211285" y="343966"/>
                    </a:lnTo>
                    <a:lnTo>
                      <a:pt x="201015" y="309262"/>
                    </a:lnTo>
                    <a:cubicBezTo>
                      <a:pt x="198094" y="299576"/>
                      <a:pt x="195173" y="287444"/>
                      <a:pt x="192817" y="277757"/>
                    </a:cubicBezTo>
                    <a:close/>
                    <a:moveTo>
                      <a:pt x="291082" y="250013"/>
                    </a:moveTo>
                    <a:lnTo>
                      <a:pt x="328270" y="250013"/>
                    </a:lnTo>
                    <a:lnTo>
                      <a:pt x="328270" y="413654"/>
                    </a:lnTo>
                    <a:lnTo>
                      <a:pt x="291082" y="413654"/>
                    </a:lnTo>
                    <a:close/>
                    <a:moveTo>
                      <a:pt x="169639" y="250013"/>
                    </a:moveTo>
                    <a:lnTo>
                      <a:pt x="218351" y="250013"/>
                    </a:lnTo>
                    <a:lnTo>
                      <a:pt x="269136" y="413654"/>
                    </a:lnTo>
                    <a:lnTo>
                      <a:pt x="229281" y="413654"/>
                    </a:lnTo>
                    <a:lnTo>
                      <a:pt x="216655" y="371615"/>
                    </a:lnTo>
                    <a:lnTo>
                      <a:pt x="169639" y="371615"/>
                    </a:lnTo>
                    <a:lnTo>
                      <a:pt x="158050" y="413654"/>
                    </a:lnTo>
                    <a:lnTo>
                      <a:pt x="119608" y="413654"/>
                    </a:lnTo>
                    <a:close/>
                    <a:moveTo>
                      <a:pt x="292861" y="39225"/>
                    </a:moveTo>
                    <a:lnTo>
                      <a:pt x="64431" y="39413"/>
                    </a:lnTo>
                    <a:cubicBezTo>
                      <a:pt x="50678" y="39413"/>
                      <a:pt x="39469" y="50607"/>
                      <a:pt x="39469" y="64341"/>
                    </a:cubicBezTo>
                    <a:lnTo>
                      <a:pt x="39469" y="540311"/>
                    </a:lnTo>
                    <a:cubicBezTo>
                      <a:pt x="39469" y="554139"/>
                      <a:pt x="50678" y="565333"/>
                      <a:pt x="64431" y="565333"/>
                    </a:cubicBezTo>
                    <a:lnTo>
                      <a:pt x="396290" y="565333"/>
                    </a:lnTo>
                    <a:cubicBezTo>
                      <a:pt x="410043" y="565333"/>
                      <a:pt x="421252" y="554139"/>
                      <a:pt x="421252" y="540311"/>
                    </a:cubicBezTo>
                    <a:lnTo>
                      <a:pt x="420310" y="167907"/>
                    </a:lnTo>
                    <a:lnTo>
                      <a:pt x="337605" y="168189"/>
                    </a:lnTo>
                    <a:cubicBezTo>
                      <a:pt x="312925" y="168189"/>
                      <a:pt x="292861" y="148153"/>
                      <a:pt x="292861" y="123508"/>
                    </a:cubicBezTo>
                    <a:close/>
                    <a:moveTo>
                      <a:pt x="64431" y="0"/>
                    </a:moveTo>
                    <a:lnTo>
                      <a:pt x="307650" y="0"/>
                    </a:lnTo>
                    <a:lnTo>
                      <a:pt x="460721" y="152292"/>
                    </a:lnTo>
                    <a:lnTo>
                      <a:pt x="460721" y="540311"/>
                    </a:lnTo>
                    <a:cubicBezTo>
                      <a:pt x="460721" y="575868"/>
                      <a:pt x="431802" y="604746"/>
                      <a:pt x="396290" y="604746"/>
                    </a:cubicBezTo>
                    <a:lnTo>
                      <a:pt x="64431" y="604746"/>
                    </a:lnTo>
                    <a:cubicBezTo>
                      <a:pt x="28919" y="604746"/>
                      <a:pt x="0" y="575868"/>
                      <a:pt x="0" y="540311"/>
                    </a:cubicBezTo>
                    <a:lnTo>
                      <a:pt x="0" y="64341"/>
                    </a:lnTo>
                    <a:cubicBezTo>
                      <a:pt x="0" y="28878"/>
                      <a:pt x="28919" y="0"/>
                      <a:pt x="64431" y="0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21" name="íşlïdê">
              <a:extLst>
                <a:ext uri="{FF2B5EF4-FFF2-40B4-BE49-F238E27FC236}">
                  <a16:creationId xmlns:a16="http://schemas.microsoft.com/office/drawing/2014/main" id="{112F00E4-5EFD-447C-B49E-9611E2D62696}"/>
                </a:ext>
              </a:extLst>
            </p:cNvPr>
            <p:cNvGrpSpPr/>
            <p:nvPr/>
          </p:nvGrpSpPr>
          <p:grpSpPr>
            <a:xfrm>
              <a:off x="937522" y="3327262"/>
              <a:ext cx="3149225" cy="466853"/>
              <a:chOff x="937522" y="3040761"/>
              <a:chExt cx="3149225" cy="466853"/>
            </a:xfrm>
          </p:grpSpPr>
          <p:sp>
            <p:nvSpPr>
              <p:cNvPr id="27" name="işľiḑe">
                <a:extLst>
                  <a:ext uri="{FF2B5EF4-FFF2-40B4-BE49-F238E27FC236}">
                    <a16:creationId xmlns:a16="http://schemas.microsoft.com/office/drawing/2014/main" id="{3460AE87-D408-467D-B8FF-841699BE24A2}"/>
                  </a:ext>
                </a:extLst>
              </p:cNvPr>
              <p:cNvSpPr txBox="1"/>
              <p:nvPr/>
            </p:nvSpPr>
            <p:spPr bwMode="auto">
              <a:xfrm>
                <a:off x="1508493" y="3065809"/>
                <a:ext cx="257825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400" b="1" dirty="0" smtClean="0">
                    <a:latin typeface="方正粗黑宋简体" panose="02000000000000000000" pitchFamily="2" charset="-122"/>
                    <a:ea typeface="方正粗黑宋简体" panose="02000000000000000000" pitchFamily="2" charset="-122"/>
                  </a:rPr>
                  <a:t>界面舒适</a:t>
                </a:r>
                <a:endParaRPr lang="en-US" altLang="zh-CN" sz="2400" b="1" dirty="0">
                  <a:latin typeface="方正粗黑宋简体" panose="02000000000000000000" pitchFamily="2" charset="-122"/>
                  <a:ea typeface="方正粗黑宋简体" panose="02000000000000000000" pitchFamily="2" charset="-122"/>
                </a:endParaRPr>
              </a:p>
            </p:txBody>
          </p:sp>
          <p:sp>
            <p:nvSpPr>
              <p:cNvPr id="28" name="ísľíḓê">
                <a:extLst>
                  <a:ext uri="{FF2B5EF4-FFF2-40B4-BE49-F238E27FC236}">
                    <a16:creationId xmlns:a16="http://schemas.microsoft.com/office/drawing/2014/main" id="{E43F1BC7-298C-4F0D-B27F-CFE63CAD52C4}"/>
                  </a:ext>
                </a:extLst>
              </p:cNvPr>
              <p:cNvSpPr/>
              <p:nvPr/>
            </p:nvSpPr>
            <p:spPr bwMode="auto">
              <a:xfrm>
                <a:off x="937522" y="3040761"/>
                <a:ext cx="358576" cy="398217"/>
              </a:xfrm>
              <a:custGeom>
                <a:avLst/>
                <a:gdLst>
                  <a:gd name="T0" fmla="*/ 836 w 857"/>
                  <a:gd name="T1" fmla="*/ 388 h 953"/>
                  <a:gd name="T2" fmla="*/ 723 w 857"/>
                  <a:gd name="T3" fmla="*/ 248 h 953"/>
                  <a:gd name="T4" fmla="*/ 684 w 857"/>
                  <a:gd name="T5" fmla="*/ 233 h 953"/>
                  <a:gd name="T6" fmla="*/ 657 w 857"/>
                  <a:gd name="T7" fmla="*/ 260 h 953"/>
                  <a:gd name="T8" fmla="*/ 606 w 857"/>
                  <a:gd name="T9" fmla="*/ 433 h 953"/>
                  <a:gd name="T10" fmla="*/ 654 w 857"/>
                  <a:gd name="T11" fmla="*/ 487 h 953"/>
                  <a:gd name="T12" fmla="*/ 684 w 857"/>
                  <a:gd name="T13" fmla="*/ 481 h 953"/>
                  <a:gd name="T14" fmla="*/ 594 w 857"/>
                  <a:gd name="T15" fmla="*/ 738 h 953"/>
                  <a:gd name="T16" fmla="*/ 588 w 857"/>
                  <a:gd name="T17" fmla="*/ 729 h 953"/>
                  <a:gd name="T18" fmla="*/ 301 w 857"/>
                  <a:gd name="T19" fmla="*/ 233 h 953"/>
                  <a:gd name="T20" fmla="*/ 301 w 857"/>
                  <a:gd name="T21" fmla="*/ 215 h 953"/>
                  <a:gd name="T22" fmla="*/ 289 w 857"/>
                  <a:gd name="T23" fmla="*/ 57 h 953"/>
                  <a:gd name="T24" fmla="*/ 131 w 857"/>
                  <a:gd name="T25" fmla="*/ 24 h 953"/>
                  <a:gd name="T26" fmla="*/ 63 w 857"/>
                  <a:gd name="T27" fmla="*/ 179 h 953"/>
                  <a:gd name="T28" fmla="*/ 197 w 857"/>
                  <a:gd name="T29" fmla="*/ 278 h 953"/>
                  <a:gd name="T30" fmla="*/ 212 w 857"/>
                  <a:gd name="T31" fmla="*/ 287 h 953"/>
                  <a:gd name="T32" fmla="*/ 499 w 857"/>
                  <a:gd name="T33" fmla="*/ 783 h 953"/>
                  <a:gd name="T34" fmla="*/ 505 w 857"/>
                  <a:gd name="T35" fmla="*/ 792 h 953"/>
                  <a:gd name="T36" fmla="*/ 230 w 857"/>
                  <a:gd name="T37" fmla="*/ 741 h 953"/>
                  <a:gd name="T38" fmla="*/ 248 w 857"/>
                  <a:gd name="T39" fmla="*/ 720 h 953"/>
                  <a:gd name="T40" fmla="*/ 227 w 857"/>
                  <a:gd name="T41" fmla="*/ 651 h 953"/>
                  <a:gd name="T42" fmla="*/ 54 w 857"/>
                  <a:gd name="T43" fmla="*/ 609 h 953"/>
                  <a:gd name="T44" fmla="*/ 12 w 857"/>
                  <a:gd name="T45" fmla="*/ 621 h 953"/>
                  <a:gd name="T46" fmla="*/ 6 w 857"/>
                  <a:gd name="T47" fmla="*/ 663 h 953"/>
                  <a:gd name="T48" fmla="*/ 68 w 857"/>
                  <a:gd name="T49" fmla="*/ 827 h 953"/>
                  <a:gd name="T50" fmla="*/ 137 w 857"/>
                  <a:gd name="T51" fmla="*/ 842 h 953"/>
                  <a:gd name="T52" fmla="*/ 155 w 857"/>
                  <a:gd name="T53" fmla="*/ 822 h 953"/>
                  <a:gd name="T54" fmla="*/ 600 w 857"/>
                  <a:gd name="T55" fmla="*/ 863 h 953"/>
                  <a:gd name="T56" fmla="*/ 785 w 857"/>
                  <a:gd name="T57" fmla="*/ 457 h 953"/>
                  <a:gd name="T58" fmla="*/ 812 w 857"/>
                  <a:gd name="T59" fmla="*/ 451 h 953"/>
                  <a:gd name="T60" fmla="*/ 836 w 857"/>
                  <a:gd name="T61" fmla="*/ 388 h 953"/>
                  <a:gd name="T62" fmla="*/ 218 w 857"/>
                  <a:gd name="T63" fmla="*/ 194 h 953"/>
                  <a:gd name="T64" fmla="*/ 143 w 857"/>
                  <a:gd name="T65" fmla="*/ 176 h 953"/>
                  <a:gd name="T66" fmla="*/ 161 w 857"/>
                  <a:gd name="T67" fmla="*/ 102 h 953"/>
                  <a:gd name="T68" fmla="*/ 236 w 857"/>
                  <a:gd name="T69" fmla="*/ 123 h 953"/>
                  <a:gd name="T70" fmla="*/ 218 w 857"/>
                  <a:gd name="T71" fmla="*/ 194 h 9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7" h="953">
                    <a:moveTo>
                      <a:pt x="836" y="388"/>
                    </a:moveTo>
                    <a:cubicBezTo>
                      <a:pt x="797" y="341"/>
                      <a:pt x="761" y="296"/>
                      <a:pt x="723" y="248"/>
                    </a:cubicBezTo>
                    <a:cubicBezTo>
                      <a:pt x="714" y="236"/>
                      <a:pt x="702" y="230"/>
                      <a:pt x="684" y="233"/>
                    </a:cubicBezTo>
                    <a:cubicBezTo>
                      <a:pt x="669" y="236"/>
                      <a:pt x="660" y="245"/>
                      <a:pt x="657" y="260"/>
                    </a:cubicBezTo>
                    <a:cubicBezTo>
                      <a:pt x="639" y="317"/>
                      <a:pt x="621" y="376"/>
                      <a:pt x="606" y="433"/>
                    </a:cubicBezTo>
                    <a:cubicBezTo>
                      <a:pt x="597" y="466"/>
                      <a:pt x="618" y="493"/>
                      <a:pt x="654" y="487"/>
                    </a:cubicBezTo>
                    <a:cubicBezTo>
                      <a:pt x="663" y="484"/>
                      <a:pt x="675" y="484"/>
                      <a:pt x="684" y="481"/>
                    </a:cubicBezTo>
                    <a:cubicBezTo>
                      <a:pt x="705" y="589"/>
                      <a:pt x="654" y="690"/>
                      <a:pt x="594" y="738"/>
                    </a:cubicBezTo>
                    <a:cubicBezTo>
                      <a:pt x="591" y="735"/>
                      <a:pt x="591" y="732"/>
                      <a:pt x="588" y="729"/>
                    </a:cubicBezTo>
                    <a:cubicBezTo>
                      <a:pt x="493" y="565"/>
                      <a:pt x="397" y="397"/>
                      <a:pt x="301" y="233"/>
                    </a:cubicBezTo>
                    <a:cubicBezTo>
                      <a:pt x="298" y="227"/>
                      <a:pt x="298" y="221"/>
                      <a:pt x="301" y="215"/>
                    </a:cubicBezTo>
                    <a:cubicBezTo>
                      <a:pt x="334" y="167"/>
                      <a:pt x="328" y="102"/>
                      <a:pt x="289" y="57"/>
                    </a:cubicBezTo>
                    <a:cubicBezTo>
                      <a:pt x="251" y="12"/>
                      <a:pt x="185" y="0"/>
                      <a:pt x="131" y="24"/>
                    </a:cubicBezTo>
                    <a:cubicBezTo>
                      <a:pt x="74" y="54"/>
                      <a:pt x="45" y="120"/>
                      <a:pt x="63" y="179"/>
                    </a:cubicBezTo>
                    <a:cubicBezTo>
                      <a:pt x="77" y="239"/>
                      <a:pt x="134" y="281"/>
                      <a:pt x="197" y="278"/>
                    </a:cubicBezTo>
                    <a:cubicBezTo>
                      <a:pt x="206" y="278"/>
                      <a:pt x="209" y="281"/>
                      <a:pt x="212" y="287"/>
                    </a:cubicBezTo>
                    <a:cubicBezTo>
                      <a:pt x="307" y="451"/>
                      <a:pt x="403" y="615"/>
                      <a:pt x="499" y="783"/>
                    </a:cubicBezTo>
                    <a:cubicBezTo>
                      <a:pt x="502" y="786"/>
                      <a:pt x="502" y="789"/>
                      <a:pt x="505" y="792"/>
                    </a:cubicBezTo>
                    <a:cubicBezTo>
                      <a:pt x="403" y="830"/>
                      <a:pt x="289" y="798"/>
                      <a:pt x="230" y="741"/>
                    </a:cubicBezTo>
                    <a:cubicBezTo>
                      <a:pt x="236" y="735"/>
                      <a:pt x="242" y="726"/>
                      <a:pt x="248" y="720"/>
                    </a:cubicBezTo>
                    <a:cubicBezTo>
                      <a:pt x="272" y="693"/>
                      <a:pt x="260" y="660"/>
                      <a:pt x="227" y="651"/>
                    </a:cubicBezTo>
                    <a:cubicBezTo>
                      <a:pt x="170" y="636"/>
                      <a:pt x="110" y="624"/>
                      <a:pt x="54" y="609"/>
                    </a:cubicBezTo>
                    <a:cubicBezTo>
                      <a:pt x="39" y="606"/>
                      <a:pt x="24" y="606"/>
                      <a:pt x="12" y="621"/>
                    </a:cubicBezTo>
                    <a:cubicBezTo>
                      <a:pt x="0" y="633"/>
                      <a:pt x="0" y="648"/>
                      <a:pt x="6" y="663"/>
                    </a:cubicBezTo>
                    <a:cubicBezTo>
                      <a:pt x="27" y="717"/>
                      <a:pt x="48" y="774"/>
                      <a:pt x="68" y="827"/>
                    </a:cubicBezTo>
                    <a:cubicBezTo>
                      <a:pt x="80" y="857"/>
                      <a:pt x="113" y="863"/>
                      <a:pt x="137" y="842"/>
                    </a:cubicBezTo>
                    <a:cubicBezTo>
                      <a:pt x="143" y="836"/>
                      <a:pt x="149" y="827"/>
                      <a:pt x="155" y="822"/>
                    </a:cubicBezTo>
                    <a:cubicBezTo>
                      <a:pt x="295" y="929"/>
                      <a:pt x="445" y="953"/>
                      <a:pt x="600" y="863"/>
                    </a:cubicBezTo>
                    <a:cubicBezTo>
                      <a:pt x="755" y="774"/>
                      <a:pt x="809" y="630"/>
                      <a:pt x="785" y="457"/>
                    </a:cubicBezTo>
                    <a:cubicBezTo>
                      <a:pt x="794" y="454"/>
                      <a:pt x="803" y="454"/>
                      <a:pt x="812" y="451"/>
                    </a:cubicBezTo>
                    <a:cubicBezTo>
                      <a:pt x="845" y="445"/>
                      <a:pt x="857" y="412"/>
                      <a:pt x="836" y="388"/>
                    </a:cubicBezTo>
                    <a:close/>
                    <a:moveTo>
                      <a:pt x="218" y="194"/>
                    </a:moveTo>
                    <a:cubicBezTo>
                      <a:pt x="191" y="209"/>
                      <a:pt x="158" y="200"/>
                      <a:pt x="143" y="176"/>
                    </a:cubicBezTo>
                    <a:cubicBezTo>
                      <a:pt x="128" y="149"/>
                      <a:pt x="137" y="117"/>
                      <a:pt x="161" y="102"/>
                    </a:cubicBezTo>
                    <a:cubicBezTo>
                      <a:pt x="188" y="87"/>
                      <a:pt x="221" y="96"/>
                      <a:pt x="236" y="123"/>
                    </a:cubicBezTo>
                    <a:cubicBezTo>
                      <a:pt x="251" y="144"/>
                      <a:pt x="242" y="179"/>
                      <a:pt x="218" y="194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22" name="iṡḻîdê">
              <a:extLst>
                <a:ext uri="{FF2B5EF4-FFF2-40B4-BE49-F238E27FC236}">
                  <a16:creationId xmlns:a16="http://schemas.microsoft.com/office/drawing/2014/main" id="{483360CB-8277-4EAA-907D-6E9928FA0B20}"/>
                </a:ext>
              </a:extLst>
            </p:cNvPr>
            <p:cNvGrpSpPr/>
            <p:nvPr/>
          </p:nvGrpSpPr>
          <p:grpSpPr>
            <a:xfrm>
              <a:off x="929306" y="5060772"/>
              <a:ext cx="3157440" cy="497077"/>
              <a:chOff x="929306" y="3191873"/>
              <a:chExt cx="3157440" cy="497077"/>
            </a:xfrm>
          </p:grpSpPr>
          <p:sp>
            <p:nvSpPr>
              <p:cNvPr id="24" name="íşḷíḋè">
                <a:extLst>
                  <a:ext uri="{FF2B5EF4-FFF2-40B4-BE49-F238E27FC236}">
                    <a16:creationId xmlns:a16="http://schemas.microsoft.com/office/drawing/2014/main" id="{E71F9CB8-4F8E-4D3A-879B-50AD2C0DE31A}"/>
                  </a:ext>
                </a:extLst>
              </p:cNvPr>
              <p:cNvSpPr txBox="1"/>
              <p:nvPr/>
            </p:nvSpPr>
            <p:spPr bwMode="auto">
              <a:xfrm>
                <a:off x="1508492" y="3247145"/>
                <a:ext cx="257825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400" b="1" dirty="0" smtClean="0">
                    <a:latin typeface="方正粗黑宋简体" panose="02000000000000000000" pitchFamily="2" charset="-122"/>
                    <a:ea typeface="方正粗黑宋简体" panose="02000000000000000000" pitchFamily="2" charset="-122"/>
                  </a:rPr>
                  <a:t>数据统计</a:t>
                </a:r>
                <a:endParaRPr lang="en-US" altLang="zh-CN" sz="2400" b="1" dirty="0">
                  <a:latin typeface="方正粗黑宋简体" panose="02000000000000000000" pitchFamily="2" charset="-122"/>
                  <a:ea typeface="方正粗黑宋简体" panose="02000000000000000000" pitchFamily="2" charset="-122"/>
                </a:endParaRPr>
              </a:p>
            </p:txBody>
          </p:sp>
          <p:sp>
            <p:nvSpPr>
              <p:cNvPr id="25" name="îşlíḓe">
                <a:extLst>
                  <a:ext uri="{FF2B5EF4-FFF2-40B4-BE49-F238E27FC236}">
                    <a16:creationId xmlns:a16="http://schemas.microsoft.com/office/drawing/2014/main" id="{F5987A94-61CE-40B0-9D73-BEF82E834ADB}"/>
                  </a:ext>
                </a:extLst>
              </p:cNvPr>
              <p:cNvSpPr/>
              <p:nvPr/>
            </p:nvSpPr>
            <p:spPr bwMode="auto">
              <a:xfrm>
                <a:off x="929306" y="3191873"/>
                <a:ext cx="375008" cy="398217"/>
              </a:xfrm>
              <a:custGeom>
                <a:avLst/>
                <a:gdLst>
                  <a:gd name="connsiteX0" fmla="*/ 285671 w 571362"/>
                  <a:gd name="connsiteY0" fmla="*/ 470107 h 606722"/>
                  <a:gd name="connsiteX1" fmla="*/ 374169 w 571362"/>
                  <a:gd name="connsiteY1" fmla="*/ 512238 h 606722"/>
                  <a:gd name="connsiteX2" fmla="*/ 369717 w 571362"/>
                  <a:gd name="connsiteY2" fmla="*/ 522815 h 606722"/>
                  <a:gd name="connsiteX3" fmla="*/ 285671 w 571362"/>
                  <a:gd name="connsiteY3" fmla="*/ 606722 h 606722"/>
                  <a:gd name="connsiteX4" fmla="*/ 201625 w 571362"/>
                  <a:gd name="connsiteY4" fmla="*/ 522815 h 606722"/>
                  <a:gd name="connsiteX5" fmla="*/ 197262 w 571362"/>
                  <a:gd name="connsiteY5" fmla="*/ 512238 h 606722"/>
                  <a:gd name="connsiteX6" fmla="*/ 285671 w 571362"/>
                  <a:gd name="connsiteY6" fmla="*/ 470107 h 606722"/>
                  <a:gd name="connsiteX7" fmla="*/ 403524 w 571362"/>
                  <a:gd name="connsiteY7" fmla="*/ 393967 h 606722"/>
                  <a:gd name="connsiteX8" fmla="*/ 384914 w 571362"/>
                  <a:gd name="connsiteY8" fmla="*/ 481539 h 606722"/>
                  <a:gd name="connsiteX9" fmla="*/ 318846 w 571362"/>
                  <a:gd name="connsiteY9" fmla="*/ 451044 h 606722"/>
                  <a:gd name="connsiteX10" fmla="*/ 388387 w 571362"/>
                  <a:gd name="connsiteY10" fmla="*/ 405169 h 606722"/>
                  <a:gd name="connsiteX11" fmla="*/ 403524 w 571362"/>
                  <a:gd name="connsiteY11" fmla="*/ 393967 h 606722"/>
                  <a:gd name="connsiteX12" fmla="*/ 167906 w 571362"/>
                  <a:gd name="connsiteY12" fmla="*/ 393967 h 606722"/>
                  <a:gd name="connsiteX13" fmla="*/ 183034 w 571362"/>
                  <a:gd name="connsiteY13" fmla="*/ 405169 h 606722"/>
                  <a:gd name="connsiteX14" fmla="*/ 252443 w 571362"/>
                  <a:gd name="connsiteY14" fmla="*/ 451044 h 606722"/>
                  <a:gd name="connsiteX15" fmla="*/ 186504 w 571362"/>
                  <a:gd name="connsiteY15" fmla="*/ 481539 h 606722"/>
                  <a:gd name="connsiteX16" fmla="*/ 167906 w 571362"/>
                  <a:gd name="connsiteY16" fmla="*/ 393967 h 606722"/>
                  <a:gd name="connsiteX17" fmla="*/ 483987 w 571362"/>
                  <a:gd name="connsiteY17" fmla="*/ 326436 h 606722"/>
                  <a:gd name="connsiteX18" fmla="*/ 571215 w 571362"/>
                  <a:gd name="connsiteY18" fmla="*/ 468871 h 606722"/>
                  <a:gd name="connsiteX19" fmla="*/ 561602 w 571362"/>
                  <a:gd name="connsiteY19" fmla="*/ 498549 h 606722"/>
                  <a:gd name="connsiteX20" fmla="*/ 427733 w 571362"/>
                  <a:gd name="connsiteY20" fmla="*/ 496860 h 606722"/>
                  <a:gd name="connsiteX21" fmla="*/ 415450 w 571362"/>
                  <a:gd name="connsiteY21" fmla="*/ 492862 h 606722"/>
                  <a:gd name="connsiteX22" fmla="*/ 439304 w 571362"/>
                  <a:gd name="connsiteY22" fmla="*/ 365888 h 606722"/>
                  <a:gd name="connsiteX23" fmla="*/ 483987 w 571362"/>
                  <a:gd name="connsiteY23" fmla="*/ 326436 h 606722"/>
                  <a:gd name="connsiteX24" fmla="*/ 87462 w 571362"/>
                  <a:gd name="connsiteY24" fmla="*/ 326436 h 606722"/>
                  <a:gd name="connsiteX25" fmla="*/ 132145 w 571362"/>
                  <a:gd name="connsiteY25" fmla="*/ 365899 h 606722"/>
                  <a:gd name="connsiteX26" fmla="*/ 155910 w 571362"/>
                  <a:gd name="connsiteY26" fmla="*/ 492907 h 606722"/>
                  <a:gd name="connsiteX27" fmla="*/ 143716 w 571362"/>
                  <a:gd name="connsiteY27" fmla="*/ 496907 h 606722"/>
                  <a:gd name="connsiteX28" fmla="*/ 9758 w 571362"/>
                  <a:gd name="connsiteY28" fmla="*/ 498596 h 606722"/>
                  <a:gd name="connsiteX29" fmla="*/ 145 w 571362"/>
                  <a:gd name="connsiteY29" fmla="*/ 468910 h 606722"/>
                  <a:gd name="connsiteX30" fmla="*/ 87462 w 571362"/>
                  <a:gd name="connsiteY30" fmla="*/ 326436 h 606722"/>
                  <a:gd name="connsiteX31" fmla="*/ 441700 w 571362"/>
                  <a:gd name="connsiteY31" fmla="*/ 285931 h 606722"/>
                  <a:gd name="connsiteX32" fmla="*/ 460682 w 571362"/>
                  <a:gd name="connsiteY32" fmla="*/ 303352 h 606722"/>
                  <a:gd name="connsiteX33" fmla="*/ 441700 w 571362"/>
                  <a:gd name="connsiteY33" fmla="*/ 320861 h 606722"/>
                  <a:gd name="connsiteX34" fmla="*/ 441878 w 571362"/>
                  <a:gd name="connsiteY34" fmla="*/ 303352 h 606722"/>
                  <a:gd name="connsiteX35" fmla="*/ 441700 w 571362"/>
                  <a:gd name="connsiteY35" fmla="*/ 285931 h 606722"/>
                  <a:gd name="connsiteX36" fmla="*/ 129660 w 571362"/>
                  <a:gd name="connsiteY36" fmla="*/ 285931 h 606722"/>
                  <a:gd name="connsiteX37" fmla="*/ 129482 w 571362"/>
                  <a:gd name="connsiteY37" fmla="*/ 303352 h 606722"/>
                  <a:gd name="connsiteX38" fmla="*/ 129660 w 571362"/>
                  <a:gd name="connsiteY38" fmla="*/ 320861 h 606722"/>
                  <a:gd name="connsiteX39" fmla="*/ 110678 w 571362"/>
                  <a:gd name="connsiteY39" fmla="*/ 303352 h 606722"/>
                  <a:gd name="connsiteX40" fmla="*/ 129660 w 571362"/>
                  <a:gd name="connsiteY40" fmla="*/ 285931 h 606722"/>
                  <a:gd name="connsiteX41" fmla="*/ 285715 w 571362"/>
                  <a:gd name="connsiteY41" fmla="*/ 279439 h 606722"/>
                  <a:gd name="connsiteX42" fmla="*/ 309672 w 571362"/>
                  <a:gd name="connsiteY42" fmla="*/ 303396 h 606722"/>
                  <a:gd name="connsiteX43" fmla="*/ 285715 w 571362"/>
                  <a:gd name="connsiteY43" fmla="*/ 327353 h 606722"/>
                  <a:gd name="connsiteX44" fmla="*/ 261758 w 571362"/>
                  <a:gd name="connsiteY44" fmla="*/ 303396 h 606722"/>
                  <a:gd name="connsiteX45" fmla="*/ 285715 w 571362"/>
                  <a:gd name="connsiteY45" fmla="*/ 279439 h 606722"/>
                  <a:gd name="connsiteX46" fmla="*/ 285680 w 571362"/>
                  <a:gd name="connsiteY46" fmla="*/ 246856 h 606722"/>
                  <a:gd name="connsiteX47" fmla="*/ 229160 w 571362"/>
                  <a:gd name="connsiteY47" fmla="*/ 303291 h 606722"/>
                  <a:gd name="connsiteX48" fmla="*/ 285680 w 571362"/>
                  <a:gd name="connsiteY48" fmla="*/ 359814 h 606722"/>
                  <a:gd name="connsiteX49" fmla="*/ 342288 w 571362"/>
                  <a:gd name="connsiteY49" fmla="*/ 303291 h 606722"/>
                  <a:gd name="connsiteX50" fmla="*/ 285680 w 571362"/>
                  <a:gd name="connsiteY50" fmla="*/ 246856 h 606722"/>
                  <a:gd name="connsiteX51" fmla="*/ 285680 w 571362"/>
                  <a:gd name="connsiteY51" fmla="*/ 173803 h 606722"/>
                  <a:gd name="connsiteX52" fmla="*/ 369346 w 571362"/>
                  <a:gd name="connsiteY52" fmla="*/ 227926 h 606722"/>
                  <a:gd name="connsiteX53" fmla="*/ 407886 w 571362"/>
                  <a:gd name="connsiteY53" fmla="*/ 257254 h 606722"/>
                  <a:gd name="connsiteX54" fmla="*/ 409310 w 571362"/>
                  <a:gd name="connsiteY54" fmla="*/ 303291 h 606722"/>
                  <a:gd name="connsiteX55" fmla="*/ 407886 w 571362"/>
                  <a:gd name="connsiteY55" fmla="*/ 349327 h 606722"/>
                  <a:gd name="connsiteX56" fmla="*/ 369346 w 571362"/>
                  <a:gd name="connsiteY56" fmla="*/ 378743 h 606722"/>
                  <a:gd name="connsiteX57" fmla="*/ 285680 w 571362"/>
                  <a:gd name="connsiteY57" fmla="*/ 432778 h 606722"/>
                  <a:gd name="connsiteX58" fmla="*/ 202102 w 571362"/>
                  <a:gd name="connsiteY58" fmla="*/ 378743 h 606722"/>
                  <a:gd name="connsiteX59" fmla="*/ 163562 w 571362"/>
                  <a:gd name="connsiteY59" fmla="*/ 349327 h 606722"/>
                  <a:gd name="connsiteX60" fmla="*/ 162049 w 571362"/>
                  <a:gd name="connsiteY60" fmla="*/ 303291 h 606722"/>
                  <a:gd name="connsiteX61" fmla="*/ 163562 w 571362"/>
                  <a:gd name="connsiteY61" fmla="*/ 257254 h 606722"/>
                  <a:gd name="connsiteX62" fmla="*/ 202102 w 571362"/>
                  <a:gd name="connsiteY62" fmla="*/ 227926 h 606722"/>
                  <a:gd name="connsiteX63" fmla="*/ 285680 w 571362"/>
                  <a:gd name="connsiteY63" fmla="*/ 173803 h 606722"/>
                  <a:gd name="connsiteX64" fmla="*/ 384914 w 571362"/>
                  <a:gd name="connsiteY64" fmla="*/ 125113 h 606722"/>
                  <a:gd name="connsiteX65" fmla="*/ 403524 w 571362"/>
                  <a:gd name="connsiteY65" fmla="*/ 212685 h 606722"/>
                  <a:gd name="connsiteX66" fmla="*/ 388387 w 571362"/>
                  <a:gd name="connsiteY66" fmla="*/ 201572 h 606722"/>
                  <a:gd name="connsiteX67" fmla="*/ 318846 w 571362"/>
                  <a:gd name="connsiteY67" fmla="*/ 155608 h 606722"/>
                  <a:gd name="connsiteX68" fmla="*/ 384914 w 571362"/>
                  <a:gd name="connsiteY68" fmla="*/ 125113 h 606722"/>
                  <a:gd name="connsiteX69" fmla="*/ 186504 w 571362"/>
                  <a:gd name="connsiteY69" fmla="*/ 125113 h 606722"/>
                  <a:gd name="connsiteX70" fmla="*/ 252443 w 571362"/>
                  <a:gd name="connsiteY70" fmla="*/ 155608 h 606722"/>
                  <a:gd name="connsiteX71" fmla="*/ 183034 w 571362"/>
                  <a:gd name="connsiteY71" fmla="*/ 201572 h 606722"/>
                  <a:gd name="connsiteX72" fmla="*/ 167906 w 571362"/>
                  <a:gd name="connsiteY72" fmla="*/ 212685 h 606722"/>
                  <a:gd name="connsiteX73" fmla="*/ 186504 w 571362"/>
                  <a:gd name="connsiteY73" fmla="*/ 125113 h 606722"/>
                  <a:gd name="connsiteX74" fmla="*/ 513359 w 571362"/>
                  <a:gd name="connsiteY74" fmla="*/ 94417 h 606722"/>
                  <a:gd name="connsiteX75" fmla="*/ 561602 w 571362"/>
                  <a:gd name="connsiteY75" fmla="*/ 108100 h 606722"/>
                  <a:gd name="connsiteX76" fmla="*/ 571215 w 571362"/>
                  <a:gd name="connsiteY76" fmla="*/ 137863 h 606722"/>
                  <a:gd name="connsiteX77" fmla="*/ 483987 w 571362"/>
                  <a:gd name="connsiteY77" fmla="*/ 280286 h 606722"/>
                  <a:gd name="connsiteX78" fmla="*/ 439304 w 571362"/>
                  <a:gd name="connsiteY78" fmla="*/ 240838 h 606722"/>
                  <a:gd name="connsiteX79" fmla="*/ 415450 w 571362"/>
                  <a:gd name="connsiteY79" fmla="*/ 113875 h 606722"/>
                  <a:gd name="connsiteX80" fmla="*/ 427733 w 571362"/>
                  <a:gd name="connsiteY80" fmla="*/ 109876 h 606722"/>
                  <a:gd name="connsiteX81" fmla="*/ 513359 w 571362"/>
                  <a:gd name="connsiteY81" fmla="*/ 94417 h 606722"/>
                  <a:gd name="connsiteX82" fmla="*/ 57990 w 571362"/>
                  <a:gd name="connsiteY82" fmla="*/ 94417 h 606722"/>
                  <a:gd name="connsiteX83" fmla="*/ 143715 w 571362"/>
                  <a:gd name="connsiteY83" fmla="*/ 109876 h 606722"/>
                  <a:gd name="connsiteX84" fmla="*/ 155911 w 571362"/>
                  <a:gd name="connsiteY84" fmla="*/ 113875 h 606722"/>
                  <a:gd name="connsiteX85" fmla="*/ 132143 w 571362"/>
                  <a:gd name="connsiteY85" fmla="*/ 240838 h 606722"/>
                  <a:gd name="connsiteX86" fmla="*/ 87455 w 571362"/>
                  <a:gd name="connsiteY86" fmla="*/ 280286 h 606722"/>
                  <a:gd name="connsiteX87" fmla="*/ 127 w 571362"/>
                  <a:gd name="connsiteY87" fmla="*/ 137863 h 606722"/>
                  <a:gd name="connsiteX88" fmla="*/ 9741 w 571362"/>
                  <a:gd name="connsiteY88" fmla="*/ 108100 h 606722"/>
                  <a:gd name="connsiteX89" fmla="*/ 57990 w 571362"/>
                  <a:gd name="connsiteY89" fmla="*/ 94417 h 606722"/>
                  <a:gd name="connsiteX90" fmla="*/ 285671 w 571362"/>
                  <a:gd name="connsiteY90" fmla="*/ 0 h 606722"/>
                  <a:gd name="connsiteX91" fmla="*/ 369717 w 571362"/>
                  <a:gd name="connsiteY91" fmla="*/ 83918 h 606722"/>
                  <a:gd name="connsiteX92" fmla="*/ 374169 w 571362"/>
                  <a:gd name="connsiteY92" fmla="*/ 94496 h 606722"/>
                  <a:gd name="connsiteX93" fmla="*/ 285671 w 571362"/>
                  <a:gd name="connsiteY93" fmla="*/ 136544 h 606722"/>
                  <a:gd name="connsiteX94" fmla="*/ 197262 w 571362"/>
                  <a:gd name="connsiteY94" fmla="*/ 94496 h 606722"/>
                  <a:gd name="connsiteX95" fmla="*/ 201625 w 571362"/>
                  <a:gd name="connsiteY95" fmla="*/ 83918 h 606722"/>
                  <a:gd name="connsiteX96" fmla="*/ 285671 w 571362"/>
                  <a:gd name="connsiteY96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571362" h="606722">
                    <a:moveTo>
                      <a:pt x="285671" y="470107"/>
                    </a:moveTo>
                    <a:cubicBezTo>
                      <a:pt x="315586" y="486551"/>
                      <a:pt x="345412" y="500772"/>
                      <a:pt x="374169" y="512238"/>
                    </a:cubicBezTo>
                    <a:cubicBezTo>
                      <a:pt x="372744" y="515793"/>
                      <a:pt x="371231" y="519349"/>
                      <a:pt x="369717" y="522815"/>
                    </a:cubicBezTo>
                    <a:cubicBezTo>
                      <a:pt x="346391" y="576146"/>
                      <a:pt x="315764" y="606722"/>
                      <a:pt x="285671" y="606722"/>
                    </a:cubicBezTo>
                    <a:cubicBezTo>
                      <a:pt x="255667" y="606722"/>
                      <a:pt x="225040" y="576146"/>
                      <a:pt x="201625" y="522815"/>
                    </a:cubicBezTo>
                    <a:cubicBezTo>
                      <a:pt x="200111" y="519349"/>
                      <a:pt x="198687" y="515793"/>
                      <a:pt x="197262" y="512238"/>
                    </a:cubicBezTo>
                    <a:cubicBezTo>
                      <a:pt x="226019" y="500772"/>
                      <a:pt x="255756" y="486551"/>
                      <a:pt x="285671" y="470107"/>
                    </a:cubicBezTo>
                    <a:close/>
                    <a:moveTo>
                      <a:pt x="403524" y="393967"/>
                    </a:moveTo>
                    <a:cubicBezTo>
                      <a:pt x="399428" y="425262"/>
                      <a:pt x="393106" y="454778"/>
                      <a:pt x="384914" y="481539"/>
                    </a:cubicBezTo>
                    <a:cubicBezTo>
                      <a:pt x="363367" y="472915"/>
                      <a:pt x="341284" y="462691"/>
                      <a:pt x="318846" y="451044"/>
                    </a:cubicBezTo>
                    <a:cubicBezTo>
                      <a:pt x="342264" y="436997"/>
                      <a:pt x="365593" y="421617"/>
                      <a:pt x="388387" y="405169"/>
                    </a:cubicBezTo>
                    <a:cubicBezTo>
                      <a:pt x="393462" y="401435"/>
                      <a:pt x="398538" y="397701"/>
                      <a:pt x="403524" y="393967"/>
                    </a:cubicBezTo>
                    <a:close/>
                    <a:moveTo>
                      <a:pt x="167906" y="393967"/>
                    </a:moveTo>
                    <a:cubicBezTo>
                      <a:pt x="172800" y="397701"/>
                      <a:pt x="177872" y="401435"/>
                      <a:pt x="183034" y="405169"/>
                    </a:cubicBezTo>
                    <a:cubicBezTo>
                      <a:pt x="205814" y="421617"/>
                      <a:pt x="229129" y="436997"/>
                      <a:pt x="252443" y="451044"/>
                    </a:cubicBezTo>
                    <a:cubicBezTo>
                      <a:pt x="230107" y="462691"/>
                      <a:pt x="208039" y="472915"/>
                      <a:pt x="186504" y="481539"/>
                    </a:cubicBezTo>
                    <a:cubicBezTo>
                      <a:pt x="178228" y="454778"/>
                      <a:pt x="171999" y="425262"/>
                      <a:pt x="167906" y="393967"/>
                    </a:cubicBezTo>
                    <a:close/>
                    <a:moveTo>
                      <a:pt x="483987" y="326436"/>
                    </a:moveTo>
                    <a:cubicBezTo>
                      <a:pt x="535879" y="380371"/>
                      <a:pt x="568723" y="432263"/>
                      <a:pt x="571215" y="468871"/>
                    </a:cubicBezTo>
                    <a:cubicBezTo>
                      <a:pt x="572105" y="481844"/>
                      <a:pt x="568990" y="491618"/>
                      <a:pt x="561602" y="498549"/>
                    </a:cubicBezTo>
                    <a:cubicBezTo>
                      <a:pt x="541842" y="517386"/>
                      <a:pt x="491730" y="516764"/>
                      <a:pt x="427733" y="496860"/>
                    </a:cubicBezTo>
                    <a:cubicBezTo>
                      <a:pt x="423728" y="495616"/>
                      <a:pt x="419633" y="494284"/>
                      <a:pt x="415450" y="492862"/>
                    </a:cubicBezTo>
                    <a:cubicBezTo>
                      <a:pt x="427377" y="454654"/>
                      <a:pt x="435477" y="411559"/>
                      <a:pt x="439304" y="365888"/>
                    </a:cubicBezTo>
                    <a:cubicBezTo>
                      <a:pt x="455148" y="352826"/>
                      <a:pt x="470101" y="339587"/>
                      <a:pt x="483987" y="326436"/>
                    </a:cubicBezTo>
                    <a:close/>
                    <a:moveTo>
                      <a:pt x="87462" y="326436"/>
                    </a:moveTo>
                    <a:cubicBezTo>
                      <a:pt x="101348" y="339590"/>
                      <a:pt x="116301" y="352833"/>
                      <a:pt x="132145" y="365899"/>
                    </a:cubicBezTo>
                    <a:cubicBezTo>
                      <a:pt x="135972" y="411583"/>
                      <a:pt x="144072" y="454689"/>
                      <a:pt x="155910" y="492907"/>
                    </a:cubicBezTo>
                    <a:cubicBezTo>
                      <a:pt x="151816" y="494329"/>
                      <a:pt x="147721" y="495663"/>
                      <a:pt x="143716" y="496907"/>
                    </a:cubicBezTo>
                    <a:cubicBezTo>
                      <a:pt x="79630" y="516816"/>
                      <a:pt x="29607" y="517527"/>
                      <a:pt x="9758" y="498596"/>
                    </a:cubicBezTo>
                    <a:cubicBezTo>
                      <a:pt x="2459" y="491663"/>
                      <a:pt x="-745" y="481886"/>
                      <a:pt x="145" y="468910"/>
                    </a:cubicBezTo>
                    <a:cubicBezTo>
                      <a:pt x="2637" y="432292"/>
                      <a:pt x="35481" y="380386"/>
                      <a:pt x="87462" y="326436"/>
                    </a:cubicBezTo>
                    <a:close/>
                    <a:moveTo>
                      <a:pt x="441700" y="285931"/>
                    </a:moveTo>
                    <a:cubicBezTo>
                      <a:pt x="448206" y="291708"/>
                      <a:pt x="454622" y="297574"/>
                      <a:pt x="460682" y="303352"/>
                    </a:cubicBezTo>
                    <a:cubicBezTo>
                      <a:pt x="454622" y="309218"/>
                      <a:pt x="448206" y="314995"/>
                      <a:pt x="441700" y="320861"/>
                    </a:cubicBezTo>
                    <a:cubicBezTo>
                      <a:pt x="441878" y="314995"/>
                      <a:pt x="441878" y="309218"/>
                      <a:pt x="441878" y="303352"/>
                    </a:cubicBezTo>
                    <a:cubicBezTo>
                      <a:pt x="441878" y="297574"/>
                      <a:pt x="441878" y="291708"/>
                      <a:pt x="441700" y="285931"/>
                    </a:cubicBezTo>
                    <a:close/>
                    <a:moveTo>
                      <a:pt x="129660" y="285931"/>
                    </a:moveTo>
                    <a:cubicBezTo>
                      <a:pt x="129571" y="291708"/>
                      <a:pt x="129482" y="297574"/>
                      <a:pt x="129482" y="303352"/>
                    </a:cubicBezTo>
                    <a:cubicBezTo>
                      <a:pt x="129482" y="309218"/>
                      <a:pt x="129571" y="314995"/>
                      <a:pt x="129660" y="320861"/>
                    </a:cubicBezTo>
                    <a:cubicBezTo>
                      <a:pt x="123154" y="314995"/>
                      <a:pt x="116827" y="309218"/>
                      <a:pt x="110678" y="303352"/>
                    </a:cubicBezTo>
                    <a:cubicBezTo>
                      <a:pt x="116827" y="297574"/>
                      <a:pt x="123154" y="291708"/>
                      <a:pt x="129660" y="285931"/>
                    </a:cubicBezTo>
                    <a:close/>
                    <a:moveTo>
                      <a:pt x="285715" y="279439"/>
                    </a:moveTo>
                    <a:cubicBezTo>
                      <a:pt x="298946" y="279439"/>
                      <a:pt x="309672" y="290165"/>
                      <a:pt x="309672" y="303396"/>
                    </a:cubicBezTo>
                    <a:cubicBezTo>
                      <a:pt x="309672" y="316627"/>
                      <a:pt x="298946" y="327353"/>
                      <a:pt x="285715" y="327353"/>
                    </a:cubicBezTo>
                    <a:cubicBezTo>
                      <a:pt x="272484" y="327353"/>
                      <a:pt x="261758" y="316627"/>
                      <a:pt x="261758" y="303396"/>
                    </a:cubicBezTo>
                    <a:cubicBezTo>
                      <a:pt x="261758" y="290165"/>
                      <a:pt x="272484" y="279439"/>
                      <a:pt x="285715" y="279439"/>
                    </a:cubicBezTo>
                    <a:close/>
                    <a:moveTo>
                      <a:pt x="285680" y="246856"/>
                    </a:moveTo>
                    <a:cubicBezTo>
                      <a:pt x="254527" y="246856"/>
                      <a:pt x="229160" y="272185"/>
                      <a:pt x="229160" y="303291"/>
                    </a:cubicBezTo>
                    <a:cubicBezTo>
                      <a:pt x="229160" y="334485"/>
                      <a:pt x="254527" y="359814"/>
                      <a:pt x="285680" y="359814"/>
                    </a:cubicBezTo>
                    <a:cubicBezTo>
                      <a:pt x="316921" y="359814"/>
                      <a:pt x="342288" y="334485"/>
                      <a:pt x="342288" y="303291"/>
                    </a:cubicBezTo>
                    <a:cubicBezTo>
                      <a:pt x="342288" y="272185"/>
                      <a:pt x="316921" y="246856"/>
                      <a:pt x="285680" y="246856"/>
                    </a:cubicBezTo>
                    <a:close/>
                    <a:moveTo>
                      <a:pt x="285680" y="173803"/>
                    </a:moveTo>
                    <a:cubicBezTo>
                      <a:pt x="313717" y="189978"/>
                      <a:pt x="341843" y="208108"/>
                      <a:pt x="369346" y="227926"/>
                    </a:cubicBezTo>
                    <a:cubicBezTo>
                      <a:pt x="382608" y="237525"/>
                      <a:pt x="395514" y="247301"/>
                      <a:pt x="407886" y="257254"/>
                    </a:cubicBezTo>
                    <a:cubicBezTo>
                      <a:pt x="408865" y="272363"/>
                      <a:pt x="409310" y="287738"/>
                      <a:pt x="409310" y="303291"/>
                    </a:cubicBezTo>
                    <a:cubicBezTo>
                      <a:pt x="409310" y="318843"/>
                      <a:pt x="408865" y="334218"/>
                      <a:pt x="407886" y="349327"/>
                    </a:cubicBezTo>
                    <a:cubicBezTo>
                      <a:pt x="395514" y="359280"/>
                      <a:pt x="382608" y="369145"/>
                      <a:pt x="369346" y="378743"/>
                    </a:cubicBezTo>
                    <a:cubicBezTo>
                      <a:pt x="341843" y="398562"/>
                      <a:pt x="313717" y="416692"/>
                      <a:pt x="285680" y="432778"/>
                    </a:cubicBezTo>
                    <a:cubicBezTo>
                      <a:pt x="257642" y="416692"/>
                      <a:pt x="229605" y="398562"/>
                      <a:pt x="202102" y="378743"/>
                    </a:cubicBezTo>
                    <a:cubicBezTo>
                      <a:pt x="188840" y="369145"/>
                      <a:pt x="175934" y="359280"/>
                      <a:pt x="163562" y="349327"/>
                    </a:cubicBezTo>
                    <a:cubicBezTo>
                      <a:pt x="162583" y="334218"/>
                      <a:pt x="162049" y="318843"/>
                      <a:pt x="162049" y="303291"/>
                    </a:cubicBezTo>
                    <a:cubicBezTo>
                      <a:pt x="162049" y="287738"/>
                      <a:pt x="162583" y="272363"/>
                      <a:pt x="163562" y="257254"/>
                    </a:cubicBezTo>
                    <a:cubicBezTo>
                      <a:pt x="175934" y="247301"/>
                      <a:pt x="188840" y="237525"/>
                      <a:pt x="202102" y="227926"/>
                    </a:cubicBezTo>
                    <a:cubicBezTo>
                      <a:pt x="229605" y="208108"/>
                      <a:pt x="257642" y="189978"/>
                      <a:pt x="285680" y="173803"/>
                    </a:cubicBezTo>
                    <a:close/>
                    <a:moveTo>
                      <a:pt x="384914" y="125113"/>
                    </a:moveTo>
                    <a:cubicBezTo>
                      <a:pt x="393106" y="151962"/>
                      <a:pt x="399428" y="181479"/>
                      <a:pt x="403524" y="212685"/>
                    </a:cubicBezTo>
                    <a:cubicBezTo>
                      <a:pt x="398538" y="208951"/>
                      <a:pt x="393462" y="205306"/>
                      <a:pt x="388387" y="201572"/>
                    </a:cubicBezTo>
                    <a:cubicBezTo>
                      <a:pt x="365503" y="185124"/>
                      <a:pt x="342264" y="169744"/>
                      <a:pt x="318846" y="155608"/>
                    </a:cubicBezTo>
                    <a:cubicBezTo>
                      <a:pt x="341284" y="144050"/>
                      <a:pt x="363367" y="133826"/>
                      <a:pt x="384914" y="125113"/>
                    </a:cubicBezTo>
                    <a:close/>
                    <a:moveTo>
                      <a:pt x="186504" y="125113"/>
                    </a:moveTo>
                    <a:cubicBezTo>
                      <a:pt x="208039" y="133826"/>
                      <a:pt x="230107" y="144050"/>
                      <a:pt x="252443" y="155608"/>
                    </a:cubicBezTo>
                    <a:cubicBezTo>
                      <a:pt x="229129" y="169744"/>
                      <a:pt x="205814" y="185124"/>
                      <a:pt x="183034" y="201572"/>
                    </a:cubicBezTo>
                    <a:cubicBezTo>
                      <a:pt x="177872" y="205306"/>
                      <a:pt x="172800" y="208951"/>
                      <a:pt x="167906" y="212685"/>
                    </a:cubicBezTo>
                    <a:cubicBezTo>
                      <a:pt x="171999" y="181479"/>
                      <a:pt x="178228" y="151962"/>
                      <a:pt x="186504" y="125113"/>
                    </a:cubicBezTo>
                    <a:close/>
                    <a:moveTo>
                      <a:pt x="513359" y="94417"/>
                    </a:moveTo>
                    <a:cubicBezTo>
                      <a:pt x="535344" y="94417"/>
                      <a:pt x="551989" y="98948"/>
                      <a:pt x="561602" y="108100"/>
                    </a:cubicBezTo>
                    <a:cubicBezTo>
                      <a:pt x="568990" y="115118"/>
                      <a:pt x="572105" y="124803"/>
                      <a:pt x="571215" y="137863"/>
                    </a:cubicBezTo>
                    <a:cubicBezTo>
                      <a:pt x="568723" y="174380"/>
                      <a:pt x="535879" y="226356"/>
                      <a:pt x="483987" y="280286"/>
                    </a:cubicBezTo>
                    <a:cubicBezTo>
                      <a:pt x="470101" y="267048"/>
                      <a:pt x="455148" y="253898"/>
                      <a:pt x="439304" y="240838"/>
                    </a:cubicBezTo>
                    <a:cubicBezTo>
                      <a:pt x="435477" y="195170"/>
                      <a:pt x="427377" y="151990"/>
                      <a:pt x="415450" y="113875"/>
                    </a:cubicBezTo>
                    <a:cubicBezTo>
                      <a:pt x="419633" y="112453"/>
                      <a:pt x="423728" y="111120"/>
                      <a:pt x="427733" y="109876"/>
                    </a:cubicBezTo>
                    <a:cubicBezTo>
                      <a:pt x="460755" y="99570"/>
                      <a:pt x="490039" y="94417"/>
                      <a:pt x="513359" y="94417"/>
                    </a:cubicBezTo>
                    <a:close/>
                    <a:moveTo>
                      <a:pt x="57990" y="94417"/>
                    </a:moveTo>
                    <a:cubicBezTo>
                      <a:pt x="81402" y="94417"/>
                      <a:pt x="110689" y="99570"/>
                      <a:pt x="143715" y="109876"/>
                    </a:cubicBezTo>
                    <a:cubicBezTo>
                      <a:pt x="147721" y="111120"/>
                      <a:pt x="151816" y="112453"/>
                      <a:pt x="155911" y="113875"/>
                    </a:cubicBezTo>
                    <a:cubicBezTo>
                      <a:pt x="144071" y="151990"/>
                      <a:pt x="135971" y="195170"/>
                      <a:pt x="132143" y="240838"/>
                    </a:cubicBezTo>
                    <a:cubicBezTo>
                      <a:pt x="116297" y="253898"/>
                      <a:pt x="101342" y="267048"/>
                      <a:pt x="87455" y="280286"/>
                    </a:cubicBezTo>
                    <a:cubicBezTo>
                      <a:pt x="35468" y="226356"/>
                      <a:pt x="2620" y="174380"/>
                      <a:pt x="127" y="137863"/>
                    </a:cubicBezTo>
                    <a:cubicBezTo>
                      <a:pt x="-674" y="124803"/>
                      <a:pt x="2442" y="115118"/>
                      <a:pt x="9741" y="108100"/>
                    </a:cubicBezTo>
                    <a:cubicBezTo>
                      <a:pt x="19355" y="98948"/>
                      <a:pt x="36091" y="94417"/>
                      <a:pt x="57990" y="94417"/>
                    </a:cubicBezTo>
                    <a:close/>
                    <a:moveTo>
                      <a:pt x="285671" y="0"/>
                    </a:moveTo>
                    <a:cubicBezTo>
                      <a:pt x="315764" y="0"/>
                      <a:pt x="346391" y="30580"/>
                      <a:pt x="369717" y="83918"/>
                    </a:cubicBezTo>
                    <a:cubicBezTo>
                      <a:pt x="371231" y="87385"/>
                      <a:pt x="372744" y="90852"/>
                      <a:pt x="374169" y="94496"/>
                    </a:cubicBezTo>
                    <a:cubicBezTo>
                      <a:pt x="345412" y="105964"/>
                      <a:pt x="315586" y="120098"/>
                      <a:pt x="285671" y="136544"/>
                    </a:cubicBezTo>
                    <a:cubicBezTo>
                      <a:pt x="255756" y="120098"/>
                      <a:pt x="226019" y="105964"/>
                      <a:pt x="197262" y="94496"/>
                    </a:cubicBezTo>
                    <a:cubicBezTo>
                      <a:pt x="198687" y="90852"/>
                      <a:pt x="200111" y="87296"/>
                      <a:pt x="201625" y="83918"/>
                    </a:cubicBezTo>
                    <a:cubicBezTo>
                      <a:pt x="225040" y="30580"/>
                      <a:pt x="255667" y="0"/>
                      <a:pt x="285671" y="0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FA154494-C4CB-4134-B170-9FCB65F0E056}"/>
              </a:ext>
            </a:extLst>
          </p:cNvPr>
          <p:cNvGrpSpPr/>
          <p:nvPr/>
        </p:nvGrpSpPr>
        <p:grpSpPr>
          <a:xfrm>
            <a:off x="-1986344" y="-99058"/>
            <a:ext cx="6981769" cy="6957058"/>
            <a:chOff x="4804858" y="3977648"/>
            <a:chExt cx="1793875" cy="1787526"/>
          </a:xfrm>
          <a:solidFill>
            <a:schemeClr val="bg1">
              <a:lumMod val="85000"/>
              <a:alpha val="20000"/>
            </a:schemeClr>
          </a:solidFill>
        </p:grpSpPr>
        <p:sp>
          <p:nvSpPr>
            <p:cNvPr id="34" name="Rectangle 51">
              <a:extLst>
                <a:ext uri="{FF2B5EF4-FFF2-40B4-BE49-F238E27FC236}">
                  <a16:creationId xmlns:a16="http://schemas.microsoft.com/office/drawing/2014/main" id="{0CA5A6A9-5F7A-4A1F-A7CB-AF56DD8287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7383" y="4693611"/>
              <a:ext cx="793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52">
              <a:extLst>
                <a:ext uri="{FF2B5EF4-FFF2-40B4-BE49-F238E27FC236}">
                  <a16:creationId xmlns:a16="http://schemas.microsoft.com/office/drawing/2014/main" id="{867A24B0-D9BF-4E18-9D9B-A9B2DB8D13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608" y="4339598"/>
              <a:ext cx="917575" cy="1074738"/>
            </a:xfrm>
            <a:custGeom>
              <a:avLst/>
              <a:gdLst>
                <a:gd name="T0" fmla="*/ 342 w 495"/>
                <a:gd name="T1" fmla="*/ 490 h 581"/>
                <a:gd name="T2" fmla="*/ 267 w 495"/>
                <a:gd name="T3" fmla="*/ 393 h 581"/>
                <a:gd name="T4" fmla="*/ 155 w 495"/>
                <a:gd name="T5" fmla="*/ 426 h 581"/>
                <a:gd name="T6" fmla="*/ 159 w 495"/>
                <a:gd name="T7" fmla="*/ 351 h 581"/>
                <a:gd name="T8" fmla="*/ 108 w 495"/>
                <a:gd name="T9" fmla="*/ 266 h 581"/>
                <a:gd name="T10" fmla="*/ 118 w 495"/>
                <a:gd name="T11" fmla="*/ 114 h 581"/>
                <a:gd name="T12" fmla="*/ 157 w 495"/>
                <a:gd name="T13" fmla="*/ 118 h 581"/>
                <a:gd name="T14" fmla="*/ 168 w 495"/>
                <a:gd name="T15" fmla="*/ 129 h 581"/>
                <a:gd name="T16" fmla="*/ 173 w 495"/>
                <a:gd name="T17" fmla="*/ 168 h 581"/>
                <a:gd name="T18" fmla="*/ 68 w 495"/>
                <a:gd name="T19" fmla="*/ 266 h 581"/>
                <a:gd name="T20" fmla="*/ 153 w 495"/>
                <a:gd name="T21" fmla="*/ 111 h 581"/>
                <a:gd name="T22" fmla="*/ 142 w 495"/>
                <a:gd name="T23" fmla="*/ 149 h 581"/>
                <a:gd name="T24" fmla="*/ 181 w 495"/>
                <a:gd name="T25" fmla="*/ 133 h 581"/>
                <a:gd name="T26" fmla="*/ 182 w 495"/>
                <a:gd name="T27" fmla="*/ 47 h 581"/>
                <a:gd name="T28" fmla="*/ 197 w 495"/>
                <a:gd name="T29" fmla="*/ 282 h 581"/>
                <a:gd name="T30" fmla="*/ 199 w 495"/>
                <a:gd name="T31" fmla="*/ 136 h 581"/>
                <a:gd name="T32" fmla="*/ 201 w 495"/>
                <a:gd name="T33" fmla="*/ 5 h 581"/>
                <a:gd name="T34" fmla="*/ 212 w 495"/>
                <a:gd name="T35" fmla="*/ 61 h 581"/>
                <a:gd name="T36" fmla="*/ 256 w 495"/>
                <a:gd name="T37" fmla="*/ 145 h 581"/>
                <a:gd name="T38" fmla="*/ 279 w 495"/>
                <a:gd name="T39" fmla="*/ 84 h 581"/>
                <a:gd name="T40" fmla="*/ 358 w 495"/>
                <a:gd name="T41" fmla="*/ 54 h 581"/>
                <a:gd name="T42" fmla="*/ 412 w 495"/>
                <a:gd name="T43" fmla="*/ 93 h 581"/>
                <a:gd name="T44" fmla="*/ 431 w 495"/>
                <a:gd name="T45" fmla="*/ 95 h 581"/>
                <a:gd name="T46" fmla="*/ 463 w 495"/>
                <a:gd name="T47" fmla="*/ 155 h 581"/>
                <a:gd name="T48" fmla="*/ 222 w 495"/>
                <a:gd name="T49" fmla="*/ 279 h 581"/>
                <a:gd name="T50" fmla="*/ 350 w 495"/>
                <a:gd name="T51" fmla="*/ 257 h 581"/>
                <a:gd name="T52" fmla="*/ 398 w 495"/>
                <a:gd name="T53" fmla="*/ 210 h 581"/>
                <a:gd name="T54" fmla="*/ 407 w 495"/>
                <a:gd name="T55" fmla="*/ 219 h 581"/>
                <a:gd name="T56" fmla="*/ 412 w 495"/>
                <a:gd name="T57" fmla="*/ 451 h 581"/>
                <a:gd name="T58" fmla="*/ 406 w 495"/>
                <a:gd name="T59" fmla="*/ 320 h 581"/>
                <a:gd name="T60" fmla="*/ 469 w 495"/>
                <a:gd name="T61" fmla="*/ 184 h 581"/>
                <a:gd name="T62" fmla="*/ 460 w 495"/>
                <a:gd name="T63" fmla="*/ 233 h 581"/>
                <a:gd name="T64" fmla="*/ 384 w 495"/>
                <a:gd name="T65" fmla="*/ 222 h 581"/>
                <a:gd name="T66" fmla="*/ 421 w 495"/>
                <a:gd name="T67" fmla="*/ 188 h 581"/>
                <a:gd name="T68" fmla="*/ 364 w 495"/>
                <a:gd name="T69" fmla="*/ 225 h 581"/>
                <a:gd name="T70" fmla="*/ 361 w 495"/>
                <a:gd name="T71" fmla="*/ 188 h 581"/>
                <a:gd name="T72" fmla="*/ 387 w 495"/>
                <a:gd name="T73" fmla="*/ 356 h 581"/>
                <a:gd name="T74" fmla="*/ 220 w 495"/>
                <a:gd name="T75" fmla="*/ 351 h 581"/>
                <a:gd name="T76" fmla="*/ 236 w 495"/>
                <a:gd name="T77" fmla="*/ 315 h 581"/>
                <a:gd name="T78" fmla="*/ 207 w 495"/>
                <a:gd name="T79" fmla="*/ 171 h 581"/>
                <a:gd name="T80" fmla="*/ 239 w 495"/>
                <a:gd name="T81" fmla="*/ 166 h 581"/>
                <a:gd name="T82" fmla="*/ 252 w 495"/>
                <a:gd name="T83" fmla="*/ 158 h 581"/>
                <a:gd name="T84" fmla="*/ 270 w 495"/>
                <a:gd name="T85" fmla="*/ 130 h 581"/>
                <a:gd name="T86" fmla="*/ 279 w 495"/>
                <a:gd name="T87" fmla="*/ 100 h 581"/>
                <a:gd name="T88" fmla="*/ 394 w 495"/>
                <a:gd name="T89" fmla="*/ 130 h 581"/>
                <a:gd name="T90" fmla="*/ 438 w 495"/>
                <a:gd name="T91" fmla="*/ 100 h 581"/>
                <a:gd name="T92" fmla="*/ 439 w 495"/>
                <a:gd name="T93" fmla="*/ 153 h 581"/>
                <a:gd name="T94" fmla="*/ 457 w 495"/>
                <a:gd name="T95" fmla="*/ 159 h 581"/>
                <a:gd name="T96" fmla="*/ 475 w 495"/>
                <a:gd name="T97" fmla="*/ 100 h 581"/>
                <a:gd name="T98" fmla="*/ 456 w 495"/>
                <a:gd name="T99" fmla="*/ 80 h 581"/>
                <a:gd name="T100" fmla="*/ 344 w 495"/>
                <a:gd name="T101" fmla="*/ 34 h 581"/>
                <a:gd name="T102" fmla="*/ 207 w 495"/>
                <a:gd name="T103" fmla="*/ 0 h 581"/>
                <a:gd name="T104" fmla="*/ 173 w 495"/>
                <a:gd name="T105" fmla="*/ 7 h 581"/>
                <a:gd name="T106" fmla="*/ 144 w 495"/>
                <a:gd name="T107" fmla="*/ 23 h 581"/>
                <a:gd name="T108" fmla="*/ 122 w 495"/>
                <a:gd name="T109" fmla="*/ 51 h 581"/>
                <a:gd name="T110" fmla="*/ 149 w 495"/>
                <a:gd name="T111" fmla="*/ 82 h 581"/>
                <a:gd name="T112" fmla="*/ 59 w 495"/>
                <a:gd name="T113" fmla="*/ 98 h 581"/>
                <a:gd name="T114" fmla="*/ 108 w 495"/>
                <a:gd name="T115" fmla="*/ 286 h 581"/>
                <a:gd name="T116" fmla="*/ 153 w 495"/>
                <a:gd name="T117" fmla="*/ 307 h 581"/>
                <a:gd name="T118" fmla="*/ 103 w 495"/>
                <a:gd name="T119" fmla="*/ 418 h 581"/>
                <a:gd name="T120" fmla="*/ 495 w 495"/>
                <a:gd name="T121" fmla="*/ 512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95" h="581">
                  <a:moveTo>
                    <a:pt x="370" y="368"/>
                  </a:moveTo>
                  <a:cubicBezTo>
                    <a:pt x="334" y="361"/>
                    <a:pt x="334" y="361"/>
                    <a:pt x="334" y="361"/>
                  </a:cubicBezTo>
                  <a:cubicBezTo>
                    <a:pt x="290" y="370"/>
                    <a:pt x="290" y="370"/>
                    <a:pt x="290" y="370"/>
                  </a:cubicBezTo>
                  <a:cubicBezTo>
                    <a:pt x="299" y="361"/>
                    <a:pt x="299" y="361"/>
                    <a:pt x="299" y="361"/>
                  </a:cubicBezTo>
                  <a:cubicBezTo>
                    <a:pt x="338" y="349"/>
                    <a:pt x="338" y="349"/>
                    <a:pt x="338" y="349"/>
                  </a:cubicBezTo>
                  <a:cubicBezTo>
                    <a:pt x="377" y="362"/>
                    <a:pt x="377" y="362"/>
                    <a:pt x="377" y="362"/>
                  </a:cubicBezTo>
                  <a:lnTo>
                    <a:pt x="370" y="368"/>
                  </a:lnTo>
                  <a:close/>
                  <a:moveTo>
                    <a:pt x="342" y="490"/>
                  </a:moveTo>
                  <a:cubicBezTo>
                    <a:pt x="338" y="469"/>
                    <a:pt x="338" y="469"/>
                    <a:pt x="338" y="469"/>
                  </a:cubicBezTo>
                  <a:cubicBezTo>
                    <a:pt x="350" y="422"/>
                    <a:pt x="350" y="422"/>
                    <a:pt x="350" y="422"/>
                  </a:cubicBezTo>
                  <a:cubicBezTo>
                    <a:pt x="350" y="422"/>
                    <a:pt x="350" y="422"/>
                    <a:pt x="350" y="422"/>
                  </a:cubicBezTo>
                  <a:cubicBezTo>
                    <a:pt x="350" y="422"/>
                    <a:pt x="350" y="422"/>
                    <a:pt x="350" y="422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76" y="493"/>
                    <a:pt x="376" y="493"/>
                    <a:pt x="376" y="493"/>
                  </a:cubicBezTo>
                  <a:cubicBezTo>
                    <a:pt x="365" y="492"/>
                    <a:pt x="354" y="491"/>
                    <a:pt x="342" y="490"/>
                  </a:cubicBezTo>
                  <a:close/>
                  <a:moveTo>
                    <a:pt x="267" y="393"/>
                  </a:moveTo>
                  <a:cubicBezTo>
                    <a:pt x="300" y="401"/>
                    <a:pt x="300" y="401"/>
                    <a:pt x="300" y="401"/>
                  </a:cubicBezTo>
                  <a:cubicBezTo>
                    <a:pt x="345" y="384"/>
                    <a:pt x="345" y="384"/>
                    <a:pt x="345" y="384"/>
                  </a:cubicBezTo>
                  <a:cubicBezTo>
                    <a:pt x="370" y="396"/>
                    <a:pt x="370" y="396"/>
                    <a:pt x="370" y="396"/>
                  </a:cubicBezTo>
                  <a:cubicBezTo>
                    <a:pt x="345" y="392"/>
                    <a:pt x="345" y="392"/>
                    <a:pt x="345" y="392"/>
                  </a:cubicBezTo>
                  <a:cubicBezTo>
                    <a:pt x="299" y="409"/>
                    <a:pt x="299" y="409"/>
                    <a:pt x="299" y="409"/>
                  </a:cubicBezTo>
                  <a:lnTo>
                    <a:pt x="267" y="393"/>
                  </a:lnTo>
                  <a:close/>
                  <a:moveTo>
                    <a:pt x="172" y="472"/>
                  </a:moveTo>
                  <a:cubicBezTo>
                    <a:pt x="155" y="426"/>
                    <a:pt x="155" y="426"/>
                    <a:pt x="155" y="426"/>
                  </a:cubicBezTo>
                  <a:cubicBezTo>
                    <a:pt x="132" y="419"/>
                    <a:pt x="132" y="419"/>
                    <a:pt x="132" y="419"/>
                  </a:cubicBezTo>
                  <a:cubicBezTo>
                    <a:pt x="171" y="407"/>
                    <a:pt x="171" y="407"/>
                    <a:pt x="171" y="407"/>
                  </a:cubicBezTo>
                  <a:cubicBezTo>
                    <a:pt x="186" y="457"/>
                    <a:pt x="186" y="457"/>
                    <a:pt x="186" y="457"/>
                  </a:cubicBezTo>
                  <a:cubicBezTo>
                    <a:pt x="278" y="443"/>
                    <a:pt x="278" y="443"/>
                    <a:pt x="278" y="443"/>
                  </a:cubicBezTo>
                  <a:lnTo>
                    <a:pt x="172" y="472"/>
                  </a:lnTo>
                  <a:close/>
                  <a:moveTo>
                    <a:pt x="155" y="326"/>
                  </a:moveTo>
                  <a:cubicBezTo>
                    <a:pt x="159" y="326"/>
                    <a:pt x="159" y="326"/>
                    <a:pt x="159" y="326"/>
                  </a:cubicBezTo>
                  <a:cubicBezTo>
                    <a:pt x="159" y="351"/>
                    <a:pt x="159" y="351"/>
                    <a:pt x="159" y="351"/>
                  </a:cubicBezTo>
                  <a:cubicBezTo>
                    <a:pt x="155" y="351"/>
                    <a:pt x="155" y="351"/>
                    <a:pt x="155" y="351"/>
                  </a:cubicBezTo>
                  <a:lnTo>
                    <a:pt x="155" y="326"/>
                  </a:lnTo>
                  <a:close/>
                  <a:moveTo>
                    <a:pt x="164" y="326"/>
                  </a:moveTo>
                  <a:cubicBezTo>
                    <a:pt x="187" y="326"/>
                    <a:pt x="187" y="326"/>
                    <a:pt x="187" y="326"/>
                  </a:cubicBezTo>
                  <a:cubicBezTo>
                    <a:pt x="187" y="351"/>
                    <a:pt x="187" y="351"/>
                    <a:pt x="187" y="351"/>
                  </a:cubicBezTo>
                  <a:cubicBezTo>
                    <a:pt x="164" y="351"/>
                    <a:pt x="164" y="351"/>
                    <a:pt x="164" y="351"/>
                  </a:cubicBezTo>
                  <a:lnTo>
                    <a:pt x="164" y="326"/>
                  </a:lnTo>
                  <a:close/>
                  <a:moveTo>
                    <a:pt x="108" y="266"/>
                  </a:moveTo>
                  <a:cubicBezTo>
                    <a:pt x="108" y="266"/>
                    <a:pt x="108" y="266"/>
                    <a:pt x="108" y="266"/>
                  </a:cubicBezTo>
                  <a:cubicBezTo>
                    <a:pt x="79" y="266"/>
                    <a:pt x="79" y="266"/>
                    <a:pt x="79" y="266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98"/>
                    <a:pt x="110" y="98"/>
                    <a:pt x="110" y="98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9" y="99"/>
                    <a:pt x="149" y="100"/>
                    <a:pt x="150" y="101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17" y="112"/>
                    <a:pt x="117" y="112"/>
                    <a:pt x="117" y="112"/>
                  </a:cubicBezTo>
                  <a:cubicBezTo>
                    <a:pt x="117" y="112"/>
                    <a:pt x="117" y="112"/>
                    <a:pt x="117" y="112"/>
                  </a:cubicBezTo>
                  <a:cubicBezTo>
                    <a:pt x="113" y="114"/>
                    <a:pt x="113" y="114"/>
                    <a:pt x="113" y="114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4" y="130"/>
                    <a:pt x="124" y="130"/>
                    <a:pt x="124" y="130"/>
                  </a:cubicBezTo>
                  <a:cubicBezTo>
                    <a:pt x="123" y="128"/>
                    <a:pt x="123" y="128"/>
                    <a:pt x="123" y="128"/>
                  </a:cubicBezTo>
                  <a:cubicBezTo>
                    <a:pt x="155" y="115"/>
                    <a:pt x="155" y="115"/>
                    <a:pt x="155" y="115"/>
                  </a:cubicBezTo>
                  <a:cubicBezTo>
                    <a:pt x="156" y="116"/>
                    <a:pt x="157" y="117"/>
                    <a:pt x="157" y="118"/>
                  </a:cubicBezTo>
                  <a:cubicBezTo>
                    <a:pt x="134" y="142"/>
                    <a:pt x="134" y="142"/>
                    <a:pt x="134" y="142"/>
                  </a:cubicBezTo>
                  <a:cubicBezTo>
                    <a:pt x="132" y="141"/>
                    <a:pt x="132" y="141"/>
                    <a:pt x="132" y="141"/>
                  </a:cubicBezTo>
                  <a:cubicBezTo>
                    <a:pt x="132" y="141"/>
                    <a:pt x="132" y="141"/>
                    <a:pt x="132" y="141"/>
                  </a:cubicBezTo>
                  <a:cubicBezTo>
                    <a:pt x="129" y="144"/>
                    <a:pt x="129" y="144"/>
                    <a:pt x="129" y="144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4" y="153"/>
                    <a:pt x="144" y="153"/>
                    <a:pt x="144" y="153"/>
                  </a:cubicBezTo>
                  <a:cubicBezTo>
                    <a:pt x="168" y="129"/>
                    <a:pt x="168" y="129"/>
                    <a:pt x="168" y="129"/>
                  </a:cubicBezTo>
                  <a:cubicBezTo>
                    <a:pt x="169" y="130"/>
                    <a:pt x="170" y="131"/>
                    <a:pt x="171" y="131"/>
                  </a:cubicBezTo>
                  <a:cubicBezTo>
                    <a:pt x="159" y="163"/>
                    <a:pt x="159" y="163"/>
                    <a:pt x="159" y="163"/>
                  </a:cubicBezTo>
                  <a:cubicBezTo>
                    <a:pt x="157" y="162"/>
                    <a:pt x="157" y="162"/>
                    <a:pt x="157" y="162"/>
                  </a:cubicBezTo>
                  <a:cubicBezTo>
                    <a:pt x="157" y="162"/>
                    <a:pt x="157" y="162"/>
                    <a:pt x="157" y="162"/>
                  </a:cubicBezTo>
                  <a:cubicBezTo>
                    <a:pt x="155" y="166"/>
                    <a:pt x="155" y="166"/>
                    <a:pt x="155" y="166"/>
                  </a:cubicBezTo>
                  <a:cubicBezTo>
                    <a:pt x="173" y="173"/>
                    <a:pt x="173" y="173"/>
                    <a:pt x="173" y="173"/>
                  </a:cubicBezTo>
                  <a:cubicBezTo>
                    <a:pt x="175" y="169"/>
                    <a:pt x="175" y="169"/>
                    <a:pt x="175" y="169"/>
                  </a:cubicBezTo>
                  <a:cubicBezTo>
                    <a:pt x="173" y="168"/>
                    <a:pt x="173" y="168"/>
                    <a:pt x="173" y="168"/>
                  </a:cubicBezTo>
                  <a:cubicBezTo>
                    <a:pt x="185" y="137"/>
                    <a:pt x="185" y="137"/>
                    <a:pt x="185" y="137"/>
                  </a:cubicBezTo>
                  <a:cubicBezTo>
                    <a:pt x="187" y="137"/>
                    <a:pt x="188" y="138"/>
                    <a:pt x="190" y="138"/>
                  </a:cubicBezTo>
                  <a:cubicBezTo>
                    <a:pt x="190" y="171"/>
                    <a:pt x="190" y="171"/>
                    <a:pt x="190" y="171"/>
                  </a:cubicBezTo>
                  <a:cubicBezTo>
                    <a:pt x="187" y="171"/>
                    <a:pt x="187" y="171"/>
                    <a:pt x="187" y="171"/>
                  </a:cubicBezTo>
                  <a:cubicBezTo>
                    <a:pt x="187" y="266"/>
                    <a:pt x="187" y="266"/>
                    <a:pt x="187" y="266"/>
                  </a:cubicBezTo>
                  <a:lnTo>
                    <a:pt x="108" y="266"/>
                  </a:lnTo>
                  <a:close/>
                  <a:moveTo>
                    <a:pt x="74" y="266"/>
                  </a:moveTo>
                  <a:cubicBezTo>
                    <a:pt x="68" y="266"/>
                    <a:pt x="68" y="266"/>
                    <a:pt x="68" y="266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74" y="100"/>
                    <a:pt x="74" y="100"/>
                    <a:pt x="74" y="100"/>
                  </a:cubicBezTo>
                  <a:lnTo>
                    <a:pt x="74" y="266"/>
                  </a:lnTo>
                  <a:close/>
                  <a:moveTo>
                    <a:pt x="153" y="111"/>
                  </a:moveTo>
                  <a:cubicBezTo>
                    <a:pt x="153" y="112"/>
                    <a:pt x="154" y="112"/>
                    <a:pt x="154" y="113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4" y="123"/>
                    <a:pt x="124" y="123"/>
                    <a:pt x="124" y="123"/>
                  </a:cubicBezTo>
                  <a:lnTo>
                    <a:pt x="153" y="111"/>
                  </a:lnTo>
                  <a:close/>
                  <a:moveTo>
                    <a:pt x="122" y="57"/>
                  </a:moveTo>
                  <a:cubicBezTo>
                    <a:pt x="123" y="55"/>
                    <a:pt x="123" y="55"/>
                    <a:pt x="123" y="55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5" y="70"/>
                    <a:pt x="155" y="70"/>
                    <a:pt x="155" y="70"/>
                  </a:cubicBezTo>
                  <a:lnTo>
                    <a:pt x="122" y="57"/>
                  </a:lnTo>
                  <a:close/>
                  <a:moveTo>
                    <a:pt x="166" y="124"/>
                  </a:moveTo>
                  <a:cubicBezTo>
                    <a:pt x="166" y="125"/>
                    <a:pt x="167" y="125"/>
                    <a:pt x="168" y="126"/>
                  </a:cubicBezTo>
                  <a:cubicBezTo>
                    <a:pt x="142" y="149"/>
                    <a:pt x="142" y="149"/>
                    <a:pt x="142" y="149"/>
                  </a:cubicBezTo>
                  <a:cubicBezTo>
                    <a:pt x="141" y="148"/>
                    <a:pt x="141" y="148"/>
                    <a:pt x="141" y="148"/>
                  </a:cubicBezTo>
                  <a:lnTo>
                    <a:pt x="166" y="124"/>
                  </a:lnTo>
                  <a:close/>
                  <a:moveTo>
                    <a:pt x="140" y="29"/>
                  </a:moveTo>
                  <a:cubicBezTo>
                    <a:pt x="144" y="30"/>
                    <a:pt x="144" y="30"/>
                    <a:pt x="144" y="30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6" y="56"/>
                    <a:pt x="166" y="56"/>
                    <a:pt x="166" y="56"/>
                  </a:cubicBezTo>
                  <a:lnTo>
                    <a:pt x="140" y="29"/>
                  </a:lnTo>
                  <a:close/>
                  <a:moveTo>
                    <a:pt x="181" y="133"/>
                  </a:moveTo>
                  <a:cubicBezTo>
                    <a:pt x="182" y="133"/>
                    <a:pt x="182" y="134"/>
                    <a:pt x="183" y="134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68" y="165"/>
                    <a:pt x="168" y="165"/>
                    <a:pt x="168" y="165"/>
                  </a:cubicBezTo>
                  <a:lnTo>
                    <a:pt x="181" y="133"/>
                  </a:lnTo>
                  <a:close/>
                  <a:moveTo>
                    <a:pt x="167" y="10"/>
                  </a:moveTo>
                  <a:cubicBezTo>
                    <a:pt x="171" y="17"/>
                    <a:pt x="171" y="17"/>
                    <a:pt x="171" y="17"/>
                  </a:cubicBezTo>
                  <a:cubicBezTo>
                    <a:pt x="185" y="46"/>
                    <a:pt x="185" y="46"/>
                    <a:pt x="185" y="46"/>
                  </a:cubicBezTo>
                  <a:cubicBezTo>
                    <a:pt x="184" y="46"/>
                    <a:pt x="183" y="47"/>
                    <a:pt x="182" y="47"/>
                  </a:cubicBezTo>
                  <a:lnTo>
                    <a:pt x="167" y="10"/>
                  </a:lnTo>
                  <a:close/>
                  <a:moveTo>
                    <a:pt x="197" y="323"/>
                  </a:moveTo>
                  <a:cubicBezTo>
                    <a:pt x="197" y="323"/>
                    <a:pt x="197" y="323"/>
                    <a:pt x="197" y="323"/>
                  </a:cubicBezTo>
                  <a:cubicBezTo>
                    <a:pt x="201" y="328"/>
                    <a:pt x="201" y="328"/>
                    <a:pt x="201" y="328"/>
                  </a:cubicBezTo>
                  <a:cubicBezTo>
                    <a:pt x="201" y="351"/>
                    <a:pt x="201" y="351"/>
                    <a:pt x="201" y="351"/>
                  </a:cubicBezTo>
                  <a:cubicBezTo>
                    <a:pt x="197" y="351"/>
                    <a:pt x="197" y="351"/>
                    <a:pt x="197" y="351"/>
                  </a:cubicBezTo>
                  <a:lnTo>
                    <a:pt x="197" y="323"/>
                  </a:lnTo>
                  <a:close/>
                  <a:moveTo>
                    <a:pt x="197" y="282"/>
                  </a:moveTo>
                  <a:cubicBezTo>
                    <a:pt x="197" y="282"/>
                    <a:pt x="197" y="282"/>
                    <a:pt x="197" y="282"/>
                  </a:cubicBezTo>
                  <a:cubicBezTo>
                    <a:pt x="201" y="287"/>
                    <a:pt x="201" y="287"/>
                    <a:pt x="201" y="287"/>
                  </a:cubicBezTo>
                  <a:cubicBezTo>
                    <a:pt x="201" y="307"/>
                    <a:pt x="201" y="307"/>
                    <a:pt x="201" y="307"/>
                  </a:cubicBezTo>
                  <a:cubicBezTo>
                    <a:pt x="197" y="307"/>
                    <a:pt x="197" y="307"/>
                    <a:pt x="197" y="307"/>
                  </a:cubicBezTo>
                  <a:lnTo>
                    <a:pt x="197" y="282"/>
                  </a:lnTo>
                  <a:close/>
                  <a:moveTo>
                    <a:pt x="197" y="171"/>
                  </a:moveTo>
                  <a:cubicBezTo>
                    <a:pt x="199" y="171"/>
                    <a:pt x="199" y="171"/>
                    <a:pt x="199" y="171"/>
                  </a:cubicBezTo>
                  <a:cubicBezTo>
                    <a:pt x="199" y="136"/>
                    <a:pt x="199" y="136"/>
                    <a:pt x="199" y="136"/>
                  </a:cubicBezTo>
                  <a:cubicBezTo>
                    <a:pt x="200" y="136"/>
                    <a:pt x="201" y="136"/>
                    <a:pt x="201" y="136"/>
                  </a:cubicBezTo>
                  <a:cubicBezTo>
                    <a:pt x="201" y="171"/>
                    <a:pt x="201" y="171"/>
                    <a:pt x="201" y="171"/>
                  </a:cubicBezTo>
                  <a:cubicBezTo>
                    <a:pt x="201" y="171"/>
                    <a:pt x="201" y="171"/>
                    <a:pt x="201" y="171"/>
                  </a:cubicBezTo>
                  <a:cubicBezTo>
                    <a:pt x="201" y="267"/>
                    <a:pt x="201" y="267"/>
                    <a:pt x="201" y="267"/>
                  </a:cubicBezTo>
                  <a:cubicBezTo>
                    <a:pt x="197" y="267"/>
                    <a:pt x="197" y="267"/>
                    <a:pt x="197" y="267"/>
                  </a:cubicBezTo>
                  <a:lnTo>
                    <a:pt x="197" y="171"/>
                  </a:lnTo>
                  <a:close/>
                  <a:moveTo>
                    <a:pt x="199" y="5"/>
                  </a:moveTo>
                  <a:cubicBezTo>
                    <a:pt x="201" y="5"/>
                    <a:pt x="201" y="5"/>
                    <a:pt x="201" y="5"/>
                  </a:cubicBezTo>
                  <a:cubicBezTo>
                    <a:pt x="201" y="45"/>
                    <a:pt x="201" y="45"/>
                    <a:pt x="201" y="45"/>
                  </a:cubicBezTo>
                  <a:cubicBezTo>
                    <a:pt x="201" y="45"/>
                    <a:pt x="200" y="45"/>
                    <a:pt x="199" y="44"/>
                  </a:cubicBezTo>
                  <a:lnTo>
                    <a:pt x="199" y="5"/>
                  </a:lnTo>
                  <a:close/>
                  <a:moveTo>
                    <a:pt x="212" y="61"/>
                  </a:moveTo>
                  <a:cubicBezTo>
                    <a:pt x="217" y="61"/>
                    <a:pt x="222" y="66"/>
                    <a:pt x="222" y="71"/>
                  </a:cubicBezTo>
                  <a:cubicBezTo>
                    <a:pt x="222" y="77"/>
                    <a:pt x="217" y="81"/>
                    <a:pt x="212" y="81"/>
                  </a:cubicBezTo>
                  <a:cubicBezTo>
                    <a:pt x="206" y="81"/>
                    <a:pt x="202" y="77"/>
                    <a:pt x="202" y="71"/>
                  </a:cubicBezTo>
                  <a:cubicBezTo>
                    <a:pt x="202" y="66"/>
                    <a:pt x="206" y="61"/>
                    <a:pt x="212" y="61"/>
                  </a:cubicBezTo>
                  <a:close/>
                  <a:moveTo>
                    <a:pt x="231" y="164"/>
                  </a:moveTo>
                  <a:cubicBezTo>
                    <a:pt x="230" y="164"/>
                    <a:pt x="230" y="164"/>
                    <a:pt x="230" y="164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220" y="130"/>
                    <a:pt x="220" y="130"/>
                    <a:pt x="220" y="130"/>
                  </a:cubicBezTo>
                  <a:lnTo>
                    <a:pt x="231" y="164"/>
                  </a:lnTo>
                  <a:close/>
                  <a:moveTo>
                    <a:pt x="233" y="119"/>
                  </a:moveTo>
                  <a:cubicBezTo>
                    <a:pt x="258" y="143"/>
                    <a:pt x="258" y="143"/>
                    <a:pt x="258" y="143"/>
                  </a:cubicBezTo>
                  <a:cubicBezTo>
                    <a:pt x="256" y="145"/>
                    <a:pt x="256" y="145"/>
                    <a:pt x="256" y="145"/>
                  </a:cubicBezTo>
                  <a:cubicBezTo>
                    <a:pt x="231" y="120"/>
                    <a:pt x="231" y="120"/>
                    <a:pt x="231" y="120"/>
                  </a:cubicBezTo>
                  <a:cubicBezTo>
                    <a:pt x="232" y="120"/>
                    <a:pt x="232" y="119"/>
                    <a:pt x="233" y="119"/>
                  </a:cubicBezTo>
                  <a:close/>
                  <a:moveTo>
                    <a:pt x="241" y="103"/>
                  </a:moveTo>
                  <a:cubicBezTo>
                    <a:pt x="273" y="116"/>
                    <a:pt x="273" y="116"/>
                    <a:pt x="273" y="116"/>
                  </a:cubicBezTo>
                  <a:cubicBezTo>
                    <a:pt x="272" y="118"/>
                    <a:pt x="272" y="118"/>
                    <a:pt x="272" y="118"/>
                  </a:cubicBezTo>
                  <a:cubicBezTo>
                    <a:pt x="240" y="104"/>
                    <a:pt x="240" y="104"/>
                    <a:pt x="240" y="104"/>
                  </a:cubicBezTo>
                  <a:cubicBezTo>
                    <a:pt x="240" y="104"/>
                    <a:pt x="241" y="103"/>
                    <a:pt x="241" y="103"/>
                  </a:cubicBezTo>
                  <a:close/>
                  <a:moveTo>
                    <a:pt x="279" y="84"/>
                  </a:moveTo>
                  <a:cubicBezTo>
                    <a:pt x="375" y="84"/>
                    <a:pt x="375" y="84"/>
                    <a:pt x="375" y="84"/>
                  </a:cubicBezTo>
                  <a:cubicBezTo>
                    <a:pt x="375" y="88"/>
                    <a:pt x="375" y="88"/>
                    <a:pt x="375" y="88"/>
                  </a:cubicBezTo>
                  <a:cubicBezTo>
                    <a:pt x="279" y="88"/>
                    <a:pt x="279" y="88"/>
                    <a:pt x="279" y="88"/>
                  </a:cubicBezTo>
                  <a:lnTo>
                    <a:pt x="279" y="84"/>
                  </a:lnTo>
                  <a:close/>
                  <a:moveTo>
                    <a:pt x="359" y="55"/>
                  </a:moveTo>
                  <a:cubicBezTo>
                    <a:pt x="362" y="80"/>
                    <a:pt x="362" y="80"/>
                    <a:pt x="362" y="80"/>
                  </a:cubicBezTo>
                  <a:cubicBezTo>
                    <a:pt x="360" y="80"/>
                    <a:pt x="360" y="80"/>
                    <a:pt x="360" y="80"/>
                  </a:cubicBezTo>
                  <a:cubicBezTo>
                    <a:pt x="358" y="54"/>
                    <a:pt x="358" y="54"/>
                    <a:pt x="358" y="54"/>
                  </a:cubicBezTo>
                  <a:lnTo>
                    <a:pt x="359" y="55"/>
                  </a:lnTo>
                  <a:close/>
                  <a:moveTo>
                    <a:pt x="370" y="67"/>
                  </a:moveTo>
                  <a:cubicBezTo>
                    <a:pt x="397" y="83"/>
                    <a:pt x="397" y="83"/>
                    <a:pt x="397" y="83"/>
                  </a:cubicBezTo>
                  <a:cubicBezTo>
                    <a:pt x="397" y="85"/>
                    <a:pt x="397" y="85"/>
                    <a:pt x="397" y="85"/>
                  </a:cubicBezTo>
                  <a:cubicBezTo>
                    <a:pt x="370" y="72"/>
                    <a:pt x="370" y="72"/>
                    <a:pt x="370" y="72"/>
                  </a:cubicBezTo>
                  <a:lnTo>
                    <a:pt x="370" y="67"/>
                  </a:lnTo>
                  <a:close/>
                  <a:moveTo>
                    <a:pt x="411" y="89"/>
                  </a:moveTo>
                  <a:cubicBezTo>
                    <a:pt x="412" y="93"/>
                    <a:pt x="412" y="93"/>
                    <a:pt x="412" y="93"/>
                  </a:cubicBezTo>
                  <a:cubicBezTo>
                    <a:pt x="382" y="99"/>
                    <a:pt x="382" y="99"/>
                    <a:pt x="382" y="99"/>
                  </a:cubicBezTo>
                  <a:cubicBezTo>
                    <a:pt x="378" y="97"/>
                    <a:pt x="378" y="97"/>
                    <a:pt x="378" y="97"/>
                  </a:cubicBezTo>
                  <a:lnTo>
                    <a:pt x="411" y="89"/>
                  </a:lnTo>
                  <a:close/>
                  <a:moveTo>
                    <a:pt x="431" y="95"/>
                  </a:moveTo>
                  <a:cubicBezTo>
                    <a:pt x="403" y="130"/>
                    <a:pt x="403" y="130"/>
                    <a:pt x="403" y="130"/>
                  </a:cubicBezTo>
                  <a:cubicBezTo>
                    <a:pt x="400" y="127"/>
                    <a:pt x="400" y="127"/>
                    <a:pt x="400" y="127"/>
                  </a:cubicBezTo>
                  <a:cubicBezTo>
                    <a:pt x="428" y="91"/>
                    <a:pt x="428" y="91"/>
                    <a:pt x="428" y="91"/>
                  </a:cubicBezTo>
                  <a:lnTo>
                    <a:pt x="431" y="95"/>
                  </a:lnTo>
                  <a:close/>
                  <a:moveTo>
                    <a:pt x="447" y="98"/>
                  </a:moveTo>
                  <a:cubicBezTo>
                    <a:pt x="432" y="144"/>
                    <a:pt x="432" y="144"/>
                    <a:pt x="432" y="144"/>
                  </a:cubicBezTo>
                  <a:cubicBezTo>
                    <a:pt x="430" y="143"/>
                    <a:pt x="430" y="143"/>
                    <a:pt x="430" y="143"/>
                  </a:cubicBezTo>
                  <a:cubicBezTo>
                    <a:pt x="445" y="96"/>
                    <a:pt x="445" y="96"/>
                    <a:pt x="445" y="96"/>
                  </a:cubicBezTo>
                  <a:lnTo>
                    <a:pt x="447" y="98"/>
                  </a:lnTo>
                  <a:close/>
                  <a:moveTo>
                    <a:pt x="461" y="95"/>
                  </a:moveTo>
                  <a:cubicBezTo>
                    <a:pt x="463" y="95"/>
                    <a:pt x="463" y="95"/>
                    <a:pt x="463" y="95"/>
                  </a:cubicBezTo>
                  <a:cubicBezTo>
                    <a:pt x="463" y="155"/>
                    <a:pt x="463" y="155"/>
                    <a:pt x="463" y="155"/>
                  </a:cubicBezTo>
                  <a:cubicBezTo>
                    <a:pt x="461" y="155"/>
                    <a:pt x="461" y="155"/>
                    <a:pt x="461" y="155"/>
                  </a:cubicBezTo>
                  <a:lnTo>
                    <a:pt x="461" y="95"/>
                  </a:lnTo>
                  <a:close/>
                  <a:moveTo>
                    <a:pt x="207" y="286"/>
                  </a:moveTo>
                  <a:cubicBezTo>
                    <a:pt x="217" y="286"/>
                    <a:pt x="217" y="286"/>
                    <a:pt x="217" y="286"/>
                  </a:cubicBezTo>
                  <a:cubicBezTo>
                    <a:pt x="217" y="307"/>
                    <a:pt x="217" y="307"/>
                    <a:pt x="217" y="307"/>
                  </a:cubicBezTo>
                  <a:cubicBezTo>
                    <a:pt x="207" y="307"/>
                    <a:pt x="207" y="307"/>
                    <a:pt x="207" y="307"/>
                  </a:cubicBezTo>
                  <a:lnTo>
                    <a:pt x="207" y="286"/>
                  </a:lnTo>
                  <a:close/>
                  <a:moveTo>
                    <a:pt x="222" y="279"/>
                  </a:moveTo>
                  <a:cubicBezTo>
                    <a:pt x="226" y="276"/>
                    <a:pt x="226" y="276"/>
                    <a:pt x="226" y="276"/>
                  </a:cubicBezTo>
                  <a:cubicBezTo>
                    <a:pt x="226" y="311"/>
                    <a:pt x="226" y="311"/>
                    <a:pt x="226" y="311"/>
                  </a:cubicBezTo>
                  <a:cubicBezTo>
                    <a:pt x="222" y="309"/>
                    <a:pt x="222" y="309"/>
                    <a:pt x="222" y="309"/>
                  </a:cubicBezTo>
                  <a:lnTo>
                    <a:pt x="222" y="279"/>
                  </a:lnTo>
                  <a:close/>
                  <a:moveTo>
                    <a:pt x="345" y="260"/>
                  </a:moveTo>
                  <a:cubicBezTo>
                    <a:pt x="345" y="236"/>
                    <a:pt x="345" y="236"/>
                    <a:pt x="345" y="236"/>
                  </a:cubicBezTo>
                  <a:cubicBezTo>
                    <a:pt x="348" y="236"/>
                    <a:pt x="348" y="236"/>
                    <a:pt x="348" y="236"/>
                  </a:cubicBezTo>
                  <a:cubicBezTo>
                    <a:pt x="350" y="257"/>
                    <a:pt x="350" y="257"/>
                    <a:pt x="350" y="257"/>
                  </a:cubicBezTo>
                  <a:cubicBezTo>
                    <a:pt x="365" y="285"/>
                    <a:pt x="365" y="285"/>
                    <a:pt x="365" y="285"/>
                  </a:cubicBezTo>
                  <a:lnTo>
                    <a:pt x="345" y="260"/>
                  </a:lnTo>
                  <a:close/>
                  <a:moveTo>
                    <a:pt x="397" y="192"/>
                  </a:moveTo>
                  <a:cubicBezTo>
                    <a:pt x="397" y="182"/>
                    <a:pt x="397" y="182"/>
                    <a:pt x="397" y="182"/>
                  </a:cubicBezTo>
                  <a:cubicBezTo>
                    <a:pt x="401" y="182"/>
                    <a:pt x="401" y="182"/>
                    <a:pt x="401" y="182"/>
                  </a:cubicBezTo>
                  <a:cubicBezTo>
                    <a:pt x="409" y="190"/>
                    <a:pt x="409" y="190"/>
                    <a:pt x="409" y="190"/>
                  </a:cubicBezTo>
                  <a:cubicBezTo>
                    <a:pt x="407" y="204"/>
                    <a:pt x="407" y="204"/>
                    <a:pt x="407" y="204"/>
                  </a:cubicBezTo>
                  <a:cubicBezTo>
                    <a:pt x="398" y="210"/>
                    <a:pt x="398" y="210"/>
                    <a:pt x="398" y="210"/>
                  </a:cubicBezTo>
                  <a:cubicBezTo>
                    <a:pt x="395" y="210"/>
                    <a:pt x="395" y="210"/>
                    <a:pt x="395" y="210"/>
                  </a:cubicBezTo>
                  <a:cubicBezTo>
                    <a:pt x="395" y="203"/>
                    <a:pt x="395" y="203"/>
                    <a:pt x="395" y="203"/>
                  </a:cubicBezTo>
                  <a:cubicBezTo>
                    <a:pt x="400" y="203"/>
                    <a:pt x="400" y="203"/>
                    <a:pt x="400" y="203"/>
                  </a:cubicBezTo>
                  <a:cubicBezTo>
                    <a:pt x="400" y="201"/>
                    <a:pt x="400" y="201"/>
                    <a:pt x="400" y="201"/>
                  </a:cubicBezTo>
                  <a:cubicBezTo>
                    <a:pt x="395" y="201"/>
                    <a:pt x="395" y="201"/>
                    <a:pt x="395" y="201"/>
                  </a:cubicBezTo>
                  <a:cubicBezTo>
                    <a:pt x="395" y="192"/>
                    <a:pt x="395" y="192"/>
                    <a:pt x="395" y="192"/>
                  </a:cubicBezTo>
                  <a:lnTo>
                    <a:pt x="397" y="192"/>
                  </a:lnTo>
                  <a:close/>
                  <a:moveTo>
                    <a:pt x="407" y="219"/>
                  </a:moveTo>
                  <a:cubicBezTo>
                    <a:pt x="401" y="219"/>
                    <a:pt x="401" y="219"/>
                    <a:pt x="401" y="219"/>
                  </a:cubicBezTo>
                  <a:cubicBezTo>
                    <a:pt x="401" y="212"/>
                    <a:pt x="401" y="212"/>
                    <a:pt x="401" y="212"/>
                  </a:cubicBezTo>
                  <a:cubicBezTo>
                    <a:pt x="412" y="206"/>
                    <a:pt x="412" y="206"/>
                    <a:pt x="412" y="206"/>
                  </a:cubicBezTo>
                  <a:lnTo>
                    <a:pt x="407" y="219"/>
                  </a:lnTo>
                  <a:close/>
                  <a:moveTo>
                    <a:pt x="413" y="497"/>
                  </a:moveTo>
                  <a:cubicBezTo>
                    <a:pt x="426" y="428"/>
                    <a:pt x="426" y="428"/>
                    <a:pt x="426" y="428"/>
                  </a:cubicBezTo>
                  <a:cubicBezTo>
                    <a:pt x="423" y="403"/>
                    <a:pt x="423" y="403"/>
                    <a:pt x="423" y="403"/>
                  </a:cubicBezTo>
                  <a:cubicBezTo>
                    <a:pt x="412" y="451"/>
                    <a:pt x="412" y="451"/>
                    <a:pt x="412" y="451"/>
                  </a:cubicBezTo>
                  <a:cubicBezTo>
                    <a:pt x="406" y="451"/>
                    <a:pt x="406" y="451"/>
                    <a:pt x="406" y="451"/>
                  </a:cubicBezTo>
                  <a:cubicBezTo>
                    <a:pt x="406" y="408"/>
                    <a:pt x="406" y="408"/>
                    <a:pt x="406" y="408"/>
                  </a:cubicBezTo>
                  <a:cubicBezTo>
                    <a:pt x="424" y="395"/>
                    <a:pt x="424" y="395"/>
                    <a:pt x="424" y="395"/>
                  </a:cubicBezTo>
                  <a:cubicBezTo>
                    <a:pt x="433" y="320"/>
                    <a:pt x="433" y="320"/>
                    <a:pt x="433" y="320"/>
                  </a:cubicBezTo>
                  <a:cubicBezTo>
                    <a:pt x="398" y="400"/>
                    <a:pt x="398" y="400"/>
                    <a:pt x="398" y="400"/>
                  </a:cubicBezTo>
                  <a:cubicBezTo>
                    <a:pt x="395" y="400"/>
                    <a:pt x="395" y="400"/>
                    <a:pt x="395" y="400"/>
                  </a:cubicBezTo>
                  <a:cubicBezTo>
                    <a:pt x="395" y="351"/>
                    <a:pt x="395" y="351"/>
                    <a:pt x="395" y="351"/>
                  </a:cubicBezTo>
                  <a:cubicBezTo>
                    <a:pt x="406" y="320"/>
                    <a:pt x="406" y="320"/>
                    <a:pt x="406" y="320"/>
                  </a:cubicBezTo>
                  <a:cubicBezTo>
                    <a:pt x="385" y="302"/>
                    <a:pt x="385" y="302"/>
                    <a:pt x="385" y="302"/>
                  </a:cubicBezTo>
                  <a:cubicBezTo>
                    <a:pt x="406" y="280"/>
                    <a:pt x="406" y="280"/>
                    <a:pt x="406" y="280"/>
                  </a:cubicBezTo>
                  <a:cubicBezTo>
                    <a:pt x="413" y="284"/>
                    <a:pt x="413" y="284"/>
                    <a:pt x="413" y="284"/>
                  </a:cubicBezTo>
                  <a:cubicBezTo>
                    <a:pt x="404" y="301"/>
                    <a:pt x="404" y="301"/>
                    <a:pt x="404" y="301"/>
                  </a:cubicBezTo>
                  <a:cubicBezTo>
                    <a:pt x="425" y="319"/>
                    <a:pt x="425" y="319"/>
                    <a:pt x="425" y="319"/>
                  </a:cubicBezTo>
                  <a:cubicBezTo>
                    <a:pt x="456" y="296"/>
                    <a:pt x="456" y="296"/>
                    <a:pt x="456" y="296"/>
                  </a:cubicBezTo>
                  <a:cubicBezTo>
                    <a:pt x="478" y="218"/>
                    <a:pt x="478" y="218"/>
                    <a:pt x="478" y="218"/>
                  </a:cubicBezTo>
                  <a:cubicBezTo>
                    <a:pt x="469" y="184"/>
                    <a:pt x="469" y="184"/>
                    <a:pt x="469" y="184"/>
                  </a:cubicBezTo>
                  <a:cubicBezTo>
                    <a:pt x="482" y="173"/>
                    <a:pt x="482" y="173"/>
                    <a:pt x="482" y="173"/>
                  </a:cubicBezTo>
                  <a:cubicBezTo>
                    <a:pt x="486" y="167"/>
                    <a:pt x="486" y="167"/>
                    <a:pt x="486" y="167"/>
                  </a:cubicBezTo>
                  <a:cubicBezTo>
                    <a:pt x="485" y="167"/>
                    <a:pt x="485" y="167"/>
                    <a:pt x="485" y="167"/>
                  </a:cubicBezTo>
                  <a:cubicBezTo>
                    <a:pt x="485" y="167"/>
                    <a:pt x="485" y="167"/>
                    <a:pt x="485" y="167"/>
                  </a:cubicBezTo>
                  <a:cubicBezTo>
                    <a:pt x="462" y="176"/>
                    <a:pt x="462" y="176"/>
                    <a:pt x="462" y="176"/>
                  </a:cubicBezTo>
                  <a:cubicBezTo>
                    <a:pt x="457" y="226"/>
                    <a:pt x="457" y="226"/>
                    <a:pt x="457" y="226"/>
                  </a:cubicBezTo>
                  <a:cubicBezTo>
                    <a:pt x="417" y="228"/>
                    <a:pt x="417" y="228"/>
                    <a:pt x="417" y="228"/>
                  </a:cubicBezTo>
                  <a:cubicBezTo>
                    <a:pt x="460" y="233"/>
                    <a:pt x="460" y="233"/>
                    <a:pt x="460" y="233"/>
                  </a:cubicBezTo>
                  <a:cubicBezTo>
                    <a:pt x="416" y="240"/>
                    <a:pt x="416" y="240"/>
                    <a:pt x="416" y="240"/>
                  </a:cubicBezTo>
                  <a:cubicBezTo>
                    <a:pt x="421" y="255"/>
                    <a:pt x="421" y="255"/>
                    <a:pt x="421" y="255"/>
                  </a:cubicBezTo>
                  <a:cubicBezTo>
                    <a:pt x="413" y="265"/>
                    <a:pt x="413" y="265"/>
                    <a:pt x="413" y="265"/>
                  </a:cubicBezTo>
                  <a:cubicBezTo>
                    <a:pt x="394" y="257"/>
                    <a:pt x="394" y="257"/>
                    <a:pt x="394" y="257"/>
                  </a:cubicBezTo>
                  <a:cubicBezTo>
                    <a:pt x="377" y="266"/>
                    <a:pt x="377" y="266"/>
                    <a:pt x="377" y="266"/>
                  </a:cubicBezTo>
                  <a:cubicBezTo>
                    <a:pt x="368" y="256"/>
                    <a:pt x="368" y="256"/>
                    <a:pt x="368" y="256"/>
                  </a:cubicBezTo>
                  <a:cubicBezTo>
                    <a:pt x="379" y="222"/>
                    <a:pt x="379" y="222"/>
                    <a:pt x="379" y="222"/>
                  </a:cubicBezTo>
                  <a:cubicBezTo>
                    <a:pt x="384" y="222"/>
                    <a:pt x="384" y="222"/>
                    <a:pt x="384" y="222"/>
                  </a:cubicBezTo>
                  <a:cubicBezTo>
                    <a:pt x="387" y="251"/>
                    <a:pt x="387" y="251"/>
                    <a:pt x="387" y="251"/>
                  </a:cubicBezTo>
                  <a:cubicBezTo>
                    <a:pt x="394" y="230"/>
                    <a:pt x="394" y="230"/>
                    <a:pt x="394" y="230"/>
                  </a:cubicBezTo>
                  <a:cubicBezTo>
                    <a:pt x="411" y="231"/>
                    <a:pt x="411" y="231"/>
                    <a:pt x="411" y="231"/>
                  </a:cubicBezTo>
                  <a:cubicBezTo>
                    <a:pt x="404" y="228"/>
                    <a:pt x="404" y="228"/>
                    <a:pt x="404" y="228"/>
                  </a:cubicBezTo>
                  <a:cubicBezTo>
                    <a:pt x="415" y="227"/>
                    <a:pt x="415" y="227"/>
                    <a:pt x="415" y="227"/>
                  </a:cubicBezTo>
                  <a:cubicBezTo>
                    <a:pt x="412" y="220"/>
                    <a:pt x="412" y="220"/>
                    <a:pt x="412" y="220"/>
                  </a:cubicBezTo>
                  <a:cubicBezTo>
                    <a:pt x="418" y="210"/>
                    <a:pt x="418" y="210"/>
                    <a:pt x="418" y="210"/>
                  </a:cubicBezTo>
                  <a:cubicBezTo>
                    <a:pt x="421" y="188"/>
                    <a:pt x="421" y="188"/>
                    <a:pt x="421" y="188"/>
                  </a:cubicBezTo>
                  <a:cubicBezTo>
                    <a:pt x="406" y="175"/>
                    <a:pt x="406" y="175"/>
                    <a:pt x="406" y="175"/>
                  </a:cubicBezTo>
                  <a:cubicBezTo>
                    <a:pt x="394" y="176"/>
                    <a:pt x="394" y="176"/>
                    <a:pt x="394" y="176"/>
                  </a:cubicBezTo>
                  <a:cubicBezTo>
                    <a:pt x="384" y="184"/>
                    <a:pt x="384" y="184"/>
                    <a:pt x="384" y="184"/>
                  </a:cubicBezTo>
                  <a:cubicBezTo>
                    <a:pt x="381" y="122"/>
                    <a:pt x="381" y="122"/>
                    <a:pt x="381" y="122"/>
                  </a:cubicBezTo>
                  <a:cubicBezTo>
                    <a:pt x="378" y="118"/>
                    <a:pt x="378" y="118"/>
                    <a:pt x="378" y="118"/>
                  </a:cubicBezTo>
                  <a:cubicBezTo>
                    <a:pt x="375" y="221"/>
                    <a:pt x="375" y="221"/>
                    <a:pt x="375" y="221"/>
                  </a:cubicBezTo>
                  <a:cubicBezTo>
                    <a:pt x="367" y="233"/>
                    <a:pt x="367" y="233"/>
                    <a:pt x="367" y="233"/>
                  </a:cubicBezTo>
                  <a:cubicBezTo>
                    <a:pt x="367" y="233"/>
                    <a:pt x="366" y="232"/>
                    <a:pt x="364" y="225"/>
                  </a:cubicBezTo>
                  <a:cubicBezTo>
                    <a:pt x="362" y="218"/>
                    <a:pt x="365" y="200"/>
                    <a:pt x="365" y="200"/>
                  </a:cubicBezTo>
                  <a:cubicBezTo>
                    <a:pt x="373" y="120"/>
                    <a:pt x="373" y="120"/>
                    <a:pt x="373" y="120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63" y="176"/>
                    <a:pt x="363" y="176"/>
                    <a:pt x="363" y="176"/>
                  </a:cubicBezTo>
                  <a:cubicBezTo>
                    <a:pt x="345" y="189"/>
                    <a:pt x="345" y="189"/>
                    <a:pt x="345" y="189"/>
                  </a:cubicBezTo>
                  <a:cubicBezTo>
                    <a:pt x="340" y="215"/>
                    <a:pt x="340" y="215"/>
                    <a:pt x="340" y="215"/>
                  </a:cubicBezTo>
                  <a:cubicBezTo>
                    <a:pt x="347" y="195"/>
                    <a:pt x="347" y="195"/>
                    <a:pt x="347" y="195"/>
                  </a:cubicBezTo>
                  <a:cubicBezTo>
                    <a:pt x="361" y="188"/>
                    <a:pt x="361" y="188"/>
                    <a:pt x="361" y="188"/>
                  </a:cubicBezTo>
                  <a:cubicBezTo>
                    <a:pt x="359" y="201"/>
                    <a:pt x="359" y="201"/>
                    <a:pt x="359" y="201"/>
                  </a:cubicBezTo>
                  <a:cubicBezTo>
                    <a:pt x="350" y="207"/>
                    <a:pt x="350" y="207"/>
                    <a:pt x="350" y="207"/>
                  </a:cubicBezTo>
                  <a:cubicBezTo>
                    <a:pt x="332" y="230"/>
                    <a:pt x="332" y="230"/>
                    <a:pt x="332" y="230"/>
                  </a:cubicBezTo>
                  <a:cubicBezTo>
                    <a:pt x="330" y="270"/>
                    <a:pt x="330" y="270"/>
                    <a:pt x="330" y="270"/>
                  </a:cubicBezTo>
                  <a:cubicBezTo>
                    <a:pt x="370" y="304"/>
                    <a:pt x="370" y="304"/>
                    <a:pt x="370" y="304"/>
                  </a:cubicBezTo>
                  <a:cubicBezTo>
                    <a:pt x="361" y="327"/>
                    <a:pt x="361" y="327"/>
                    <a:pt x="361" y="327"/>
                  </a:cubicBezTo>
                  <a:cubicBezTo>
                    <a:pt x="394" y="351"/>
                    <a:pt x="394" y="351"/>
                    <a:pt x="394" y="351"/>
                  </a:cubicBezTo>
                  <a:cubicBezTo>
                    <a:pt x="387" y="356"/>
                    <a:pt x="387" y="356"/>
                    <a:pt x="387" y="356"/>
                  </a:cubicBezTo>
                  <a:cubicBezTo>
                    <a:pt x="350" y="337"/>
                    <a:pt x="350" y="337"/>
                    <a:pt x="350" y="337"/>
                  </a:cubicBezTo>
                  <a:cubicBezTo>
                    <a:pt x="361" y="327"/>
                    <a:pt x="361" y="327"/>
                    <a:pt x="361" y="327"/>
                  </a:cubicBezTo>
                  <a:cubicBezTo>
                    <a:pt x="290" y="318"/>
                    <a:pt x="290" y="318"/>
                    <a:pt x="290" y="318"/>
                  </a:cubicBezTo>
                  <a:cubicBezTo>
                    <a:pt x="253" y="336"/>
                    <a:pt x="253" y="336"/>
                    <a:pt x="253" y="336"/>
                  </a:cubicBezTo>
                  <a:cubicBezTo>
                    <a:pt x="253" y="350"/>
                    <a:pt x="253" y="350"/>
                    <a:pt x="253" y="350"/>
                  </a:cubicBezTo>
                  <a:cubicBezTo>
                    <a:pt x="253" y="367"/>
                    <a:pt x="253" y="367"/>
                    <a:pt x="253" y="367"/>
                  </a:cubicBezTo>
                  <a:cubicBezTo>
                    <a:pt x="229" y="367"/>
                    <a:pt x="229" y="367"/>
                    <a:pt x="229" y="367"/>
                  </a:cubicBezTo>
                  <a:cubicBezTo>
                    <a:pt x="220" y="351"/>
                    <a:pt x="220" y="351"/>
                    <a:pt x="220" y="351"/>
                  </a:cubicBezTo>
                  <a:cubicBezTo>
                    <a:pt x="207" y="351"/>
                    <a:pt x="207" y="351"/>
                    <a:pt x="207" y="351"/>
                  </a:cubicBezTo>
                  <a:cubicBezTo>
                    <a:pt x="207" y="326"/>
                    <a:pt x="207" y="326"/>
                    <a:pt x="207" y="326"/>
                  </a:cubicBezTo>
                  <a:cubicBezTo>
                    <a:pt x="227" y="326"/>
                    <a:pt x="227" y="326"/>
                    <a:pt x="227" y="326"/>
                  </a:cubicBezTo>
                  <a:cubicBezTo>
                    <a:pt x="227" y="326"/>
                    <a:pt x="227" y="326"/>
                    <a:pt x="227" y="326"/>
                  </a:cubicBezTo>
                  <a:cubicBezTo>
                    <a:pt x="232" y="326"/>
                    <a:pt x="235" y="323"/>
                    <a:pt x="235" y="318"/>
                  </a:cubicBezTo>
                  <a:cubicBezTo>
                    <a:pt x="235" y="318"/>
                    <a:pt x="235" y="318"/>
                    <a:pt x="235" y="318"/>
                  </a:cubicBezTo>
                  <a:cubicBezTo>
                    <a:pt x="235" y="315"/>
                    <a:pt x="235" y="315"/>
                    <a:pt x="235" y="315"/>
                  </a:cubicBezTo>
                  <a:cubicBezTo>
                    <a:pt x="236" y="315"/>
                    <a:pt x="236" y="315"/>
                    <a:pt x="236" y="315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6" y="275"/>
                    <a:pt x="236" y="275"/>
                    <a:pt x="236" y="275"/>
                  </a:cubicBezTo>
                  <a:cubicBezTo>
                    <a:pt x="236" y="275"/>
                    <a:pt x="236" y="275"/>
                    <a:pt x="236" y="274"/>
                  </a:cubicBezTo>
                  <a:cubicBezTo>
                    <a:pt x="236" y="270"/>
                    <a:pt x="232" y="266"/>
                    <a:pt x="228" y="266"/>
                  </a:cubicBezTo>
                  <a:cubicBezTo>
                    <a:pt x="227" y="266"/>
                    <a:pt x="227" y="266"/>
                    <a:pt x="227" y="266"/>
                  </a:cubicBezTo>
                  <a:cubicBezTo>
                    <a:pt x="207" y="266"/>
                    <a:pt x="207" y="266"/>
                    <a:pt x="207" y="266"/>
                  </a:cubicBezTo>
                  <a:cubicBezTo>
                    <a:pt x="207" y="171"/>
                    <a:pt x="207" y="171"/>
                    <a:pt x="207" y="171"/>
                  </a:cubicBezTo>
                  <a:cubicBezTo>
                    <a:pt x="205" y="171"/>
                    <a:pt x="205" y="171"/>
                    <a:pt x="205" y="171"/>
                  </a:cubicBezTo>
                  <a:cubicBezTo>
                    <a:pt x="205" y="138"/>
                    <a:pt x="205" y="138"/>
                    <a:pt x="205" y="138"/>
                  </a:cubicBezTo>
                  <a:cubicBezTo>
                    <a:pt x="206" y="137"/>
                    <a:pt x="208" y="137"/>
                    <a:pt x="209" y="137"/>
                  </a:cubicBezTo>
                  <a:cubicBezTo>
                    <a:pt x="221" y="168"/>
                    <a:pt x="221" y="168"/>
                    <a:pt x="221" y="168"/>
                  </a:cubicBezTo>
                  <a:cubicBezTo>
                    <a:pt x="219" y="169"/>
                    <a:pt x="219" y="169"/>
                    <a:pt x="219" y="169"/>
                  </a:cubicBezTo>
                  <a:cubicBezTo>
                    <a:pt x="219" y="169"/>
                    <a:pt x="219" y="169"/>
                    <a:pt x="219" y="169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7" y="162"/>
                    <a:pt x="237" y="162"/>
                    <a:pt x="237" y="162"/>
                  </a:cubicBezTo>
                  <a:cubicBezTo>
                    <a:pt x="235" y="163"/>
                    <a:pt x="235" y="163"/>
                    <a:pt x="235" y="163"/>
                  </a:cubicBezTo>
                  <a:cubicBezTo>
                    <a:pt x="223" y="131"/>
                    <a:pt x="223" y="131"/>
                    <a:pt x="223" y="131"/>
                  </a:cubicBezTo>
                  <a:cubicBezTo>
                    <a:pt x="224" y="130"/>
                    <a:pt x="225" y="129"/>
                    <a:pt x="226" y="129"/>
                  </a:cubicBezTo>
                  <a:cubicBezTo>
                    <a:pt x="250" y="153"/>
                    <a:pt x="250" y="153"/>
                    <a:pt x="250" y="153"/>
                  </a:cubicBezTo>
                  <a:cubicBezTo>
                    <a:pt x="249" y="155"/>
                    <a:pt x="249" y="155"/>
                    <a:pt x="249" y="155"/>
                  </a:cubicBezTo>
                  <a:cubicBezTo>
                    <a:pt x="249" y="155"/>
                    <a:pt x="249" y="155"/>
                    <a:pt x="249" y="155"/>
                  </a:cubicBezTo>
                  <a:cubicBezTo>
                    <a:pt x="252" y="158"/>
                    <a:pt x="252" y="158"/>
                    <a:pt x="252" y="158"/>
                  </a:cubicBezTo>
                  <a:cubicBezTo>
                    <a:pt x="265" y="144"/>
                    <a:pt x="265" y="144"/>
                    <a:pt x="265" y="144"/>
                  </a:cubicBezTo>
                  <a:cubicBezTo>
                    <a:pt x="262" y="141"/>
                    <a:pt x="262" y="141"/>
                    <a:pt x="262" y="141"/>
                  </a:cubicBezTo>
                  <a:cubicBezTo>
                    <a:pt x="261" y="142"/>
                    <a:pt x="261" y="142"/>
                    <a:pt x="261" y="142"/>
                  </a:cubicBezTo>
                  <a:cubicBezTo>
                    <a:pt x="236" y="118"/>
                    <a:pt x="236" y="118"/>
                    <a:pt x="236" y="118"/>
                  </a:cubicBezTo>
                  <a:cubicBezTo>
                    <a:pt x="237" y="117"/>
                    <a:pt x="237" y="116"/>
                    <a:pt x="238" y="115"/>
                  </a:cubicBezTo>
                  <a:cubicBezTo>
                    <a:pt x="271" y="128"/>
                    <a:pt x="271" y="128"/>
                    <a:pt x="271" y="128"/>
                  </a:cubicBezTo>
                  <a:cubicBezTo>
                    <a:pt x="270" y="130"/>
                    <a:pt x="270" y="130"/>
                    <a:pt x="270" y="130"/>
                  </a:cubicBezTo>
                  <a:cubicBezTo>
                    <a:pt x="270" y="130"/>
                    <a:pt x="270" y="130"/>
                    <a:pt x="270" y="130"/>
                  </a:cubicBezTo>
                  <a:cubicBezTo>
                    <a:pt x="274" y="132"/>
                    <a:pt x="274" y="132"/>
                    <a:pt x="274" y="132"/>
                  </a:cubicBezTo>
                  <a:cubicBezTo>
                    <a:pt x="281" y="114"/>
                    <a:pt x="281" y="114"/>
                    <a:pt x="281" y="114"/>
                  </a:cubicBezTo>
                  <a:cubicBezTo>
                    <a:pt x="277" y="112"/>
                    <a:pt x="277" y="112"/>
                    <a:pt x="277" y="112"/>
                  </a:cubicBezTo>
                  <a:cubicBezTo>
                    <a:pt x="277" y="114"/>
                    <a:pt x="277" y="114"/>
                    <a:pt x="277" y="114"/>
                  </a:cubicBezTo>
                  <a:cubicBezTo>
                    <a:pt x="244" y="101"/>
                    <a:pt x="244" y="101"/>
                    <a:pt x="244" y="101"/>
                  </a:cubicBezTo>
                  <a:cubicBezTo>
                    <a:pt x="244" y="100"/>
                    <a:pt x="244" y="99"/>
                    <a:pt x="244" y="98"/>
                  </a:cubicBezTo>
                  <a:cubicBezTo>
                    <a:pt x="279" y="98"/>
                    <a:pt x="279" y="98"/>
                    <a:pt x="279" y="98"/>
                  </a:cubicBezTo>
                  <a:cubicBezTo>
                    <a:pt x="279" y="100"/>
                    <a:pt x="279" y="100"/>
                    <a:pt x="279" y="100"/>
                  </a:cubicBezTo>
                  <a:cubicBezTo>
                    <a:pt x="368" y="100"/>
                    <a:pt x="368" y="100"/>
                    <a:pt x="368" y="100"/>
                  </a:cubicBezTo>
                  <a:cubicBezTo>
                    <a:pt x="369" y="101"/>
                    <a:pt x="369" y="103"/>
                    <a:pt x="370" y="105"/>
                  </a:cubicBezTo>
                  <a:cubicBezTo>
                    <a:pt x="371" y="109"/>
                    <a:pt x="374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406" y="100"/>
                    <a:pt x="406" y="100"/>
                    <a:pt x="406" y="100"/>
                  </a:cubicBezTo>
                  <a:cubicBezTo>
                    <a:pt x="416" y="100"/>
                    <a:pt x="416" y="100"/>
                    <a:pt x="416" y="100"/>
                  </a:cubicBezTo>
                  <a:cubicBezTo>
                    <a:pt x="394" y="130"/>
                    <a:pt x="394" y="130"/>
                    <a:pt x="394" y="130"/>
                  </a:cubicBezTo>
                  <a:cubicBezTo>
                    <a:pt x="394" y="130"/>
                    <a:pt x="394" y="130"/>
                    <a:pt x="394" y="130"/>
                  </a:cubicBezTo>
                  <a:cubicBezTo>
                    <a:pt x="394" y="130"/>
                    <a:pt x="394" y="130"/>
                    <a:pt x="394" y="130"/>
                  </a:cubicBezTo>
                  <a:cubicBezTo>
                    <a:pt x="394" y="130"/>
                    <a:pt x="394" y="130"/>
                    <a:pt x="394" y="130"/>
                  </a:cubicBezTo>
                  <a:cubicBezTo>
                    <a:pt x="394" y="130"/>
                    <a:pt x="394" y="130"/>
                    <a:pt x="394" y="130"/>
                  </a:cubicBezTo>
                  <a:cubicBezTo>
                    <a:pt x="393" y="131"/>
                    <a:pt x="395" y="134"/>
                    <a:pt x="399" y="136"/>
                  </a:cubicBezTo>
                  <a:cubicBezTo>
                    <a:pt x="403" y="139"/>
                    <a:pt x="406" y="140"/>
                    <a:pt x="407" y="139"/>
                  </a:cubicBezTo>
                  <a:cubicBezTo>
                    <a:pt x="407" y="139"/>
                    <a:pt x="407" y="139"/>
                    <a:pt x="407" y="139"/>
                  </a:cubicBezTo>
                  <a:cubicBezTo>
                    <a:pt x="438" y="100"/>
                    <a:pt x="438" y="100"/>
                    <a:pt x="438" y="100"/>
                  </a:cubicBezTo>
                  <a:cubicBezTo>
                    <a:pt x="439" y="100"/>
                    <a:pt x="439" y="100"/>
                    <a:pt x="439" y="100"/>
                  </a:cubicBezTo>
                  <a:cubicBezTo>
                    <a:pt x="423" y="147"/>
                    <a:pt x="423" y="147"/>
                    <a:pt x="423" y="147"/>
                  </a:cubicBezTo>
                  <a:cubicBezTo>
                    <a:pt x="423" y="147"/>
                    <a:pt x="423" y="147"/>
                    <a:pt x="423" y="147"/>
                  </a:cubicBezTo>
                  <a:cubicBezTo>
                    <a:pt x="423" y="147"/>
                    <a:pt x="423" y="147"/>
                    <a:pt x="423" y="147"/>
                  </a:cubicBezTo>
                  <a:cubicBezTo>
                    <a:pt x="422" y="149"/>
                    <a:pt x="426" y="151"/>
                    <a:pt x="430" y="153"/>
                  </a:cubicBezTo>
                  <a:cubicBezTo>
                    <a:pt x="434" y="154"/>
                    <a:pt x="438" y="155"/>
                    <a:pt x="439" y="153"/>
                  </a:cubicBezTo>
                  <a:cubicBezTo>
                    <a:pt x="439" y="153"/>
                    <a:pt x="439" y="153"/>
                    <a:pt x="439" y="153"/>
                  </a:cubicBezTo>
                  <a:cubicBezTo>
                    <a:pt x="439" y="153"/>
                    <a:pt x="439" y="153"/>
                    <a:pt x="439" y="153"/>
                  </a:cubicBezTo>
                  <a:cubicBezTo>
                    <a:pt x="439" y="153"/>
                    <a:pt x="439" y="153"/>
                    <a:pt x="439" y="153"/>
                  </a:cubicBezTo>
                  <a:cubicBezTo>
                    <a:pt x="439" y="153"/>
                    <a:pt x="439" y="153"/>
                    <a:pt x="439" y="153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7" y="160"/>
                    <a:pt x="461" y="161"/>
                    <a:pt x="466" y="161"/>
                  </a:cubicBezTo>
                  <a:cubicBezTo>
                    <a:pt x="471" y="161"/>
                    <a:pt x="474" y="160"/>
                    <a:pt x="475" y="159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5" y="100"/>
                    <a:pt x="475" y="100"/>
                    <a:pt x="475" y="100"/>
                  </a:cubicBezTo>
                  <a:cubicBezTo>
                    <a:pt x="481" y="100"/>
                    <a:pt x="481" y="100"/>
                    <a:pt x="481" y="100"/>
                  </a:cubicBezTo>
                  <a:cubicBezTo>
                    <a:pt x="481" y="88"/>
                    <a:pt x="481" y="88"/>
                    <a:pt x="481" y="88"/>
                  </a:cubicBezTo>
                  <a:cubicBezTo>
                    <a:pt x="412" y="88"/>
                    <a:pt x="412" y="88"/>
                    <a:pt x="412" y="88"/>
                  </a:cubicBezTo>
                  <a:cubicBezTo>
                    <a:pt x="412" y="84"/>
                    <a:pt x="412" y="84"/>
                    <a:pt x="412" y="84"/>
                  </a:cubicBezTo>
                  <a:cubicBezTo>
                    <a:pt x="481" y="84"/>
                    <a:pt x="481" y="84"/>
                    <a:pt x="481" y="84"/>
                  </a:cubicBezTo>
                  <a:cubicBezTo>
                    <a:pt x="481" y="80"/>
                    <a:pt x="481" y="80"/>
                    <a:pt x="481" y="80"/>
                  </a:cubicBezTo>
                  <a:cubicBezTo>
                    <a:pt x="456" y="80"/>
                    <a:pt x="456" y="80"/>
                    <a:pt x="456" y="80"/>
                  </a:cubicBezTo>
                  <a:cubicBezTo>
                    <a:pt x="456" y="80"/>
                    <a:pt x="456" y="80"/>
                    <a:pt x="456" y="80"/>
                  </a:cubicBezTo>
                  <a:cubicBezTo>
                    <a:pt x="411" y="80"/>
                    <a:pt x="411" y="80"/>
                    <a:pt x="411" y="80"/>
                  </a:cubicBezTo>
                  <a:cubicBezTo>
                    <a:pt x="404" y="79"/>
                    <a:pt x="386" y="75"/>
                    <a:pt x="374" y="63"/>
                  </a:cubicBezTo>
                  <a:cubicBezTo>
                    <a:pt x="357" y="46"/>
                    <a:pt x="357" y="34"/>
                    <a:pt x="357" y="34"/>
                  </a:cubicBezTo>
                  <a:cubicBezTo>
                    <a:pt x="354" y="34"/>
                    <a:pt x="354" y="34"/>
                    <a:pt x="354" y="34"/>
                  </a:cubicBezTo>
                  <a:cubicBezTo>
                    <a:pt x="354" y="80"/>
                    <a:pt x="354" y="80"/>
                    <a:pt x="354" y="80"/>
                  </a:cubicBezTo>
                  <a:cubicBezTo>
                    <a:pt x="350" y="80"/>
                    <a:pt x="350" y="80"/>
                    <a:pt x="350" y="80"/>
                  </a:cubicBezTo>
                  <a:cubicBezTo>
                    <a:pt x="350" y="34"/>
                    <a:pt x="350" y="34"/>
                    <a:pt x="350" y="34"/>
                  </a:cubicBezTo>
                  <a:cubicBezTo>
                    <a:pt x="344" y="34"/>
                    <a:pt x="344" y="34"/>
                    <a:pt x="344" y="34"/>
                  </a:cubicBezTo>
                  <a:cubicBezTo>
                    <a:pt x="344" y="80"/>
                    <a:pt x="344" y="80"/>
                    <a:pt x="344" y="80"/>
                  </a:cubicBezTo>
                  <a:cubicBezTo>
                    <a:pt x="279" y="80"/>
                    <a:pt x="279" y="80"/>
                    <a:pt x="279" y="80"/>
                  </a:cubicBezTo>
                  <a:cubicBezTo>
                    <a:pt x="279" y="82"/>
                    <a:pt x="279" y="82"/>
                    <a:pt x="279" y="82"/>
                  </a:cubicBezTo>
                  <a:cubicBezTo>
                    <a:pt x="244" y="82"/>
                    <a:pt x="244" y="82"/>
                    <a:pt x="244" y="82"/>
                  </a:cubicBezTo>
                  <a:cubicBezTo>
                    <a:pt x="241" y="62"/>
                    <a:pt x="225" y="46"/>
                    <a:pt x="205" y="43"/>
                  </a:cubicBezTo>
                  <a:cubicBezTo>
                    <a:pt x="205" y="4"/>
                    <a:pt x="205" y="4"/>
                    <a:pt x="205" y="4"/>
                  </a:cubicBezTo>
                  <a:cubicBezTo>
                    <a:pt x="207" y="4"/>
                    <a:pt x="207" y="4"/>
                    <a:pt x="207" y="4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90" y="4"/>
                    <a:pt x="190" y="4"/>
                    <a:pt x="190" y="4"/>
                  </a:cubicBezTo>
                  <a:cubicBezTo>
                    <a:pt x="190" y="43"/>
                    <a:pt x="190" y="43"/>
                    <a:pt x="190" y="43"/>
                  </a:cubicBezTo>
                  <a:cubicBezTo>
                    <a:pt x="188" y="43"/>
                    <a:pt x="187" y="43"/>
                    <a:pt x="186" y="43"/>
                  </a:cubicBezTo>
                  <a:cubicBezTo>
                    <a:pt x="171" y="8"/>
                    <a:pt x="171" y="8"/>
                    <a:pt x="171" y="8"/>
                  </a:cubicBezTo>
                  <a:cubicBezTo>
                    <a:pt x="173" y="7"/>
                    <a:pt x="173" y="7"/>
                    <a:pt x="173" y="7"/>
                  </a:cubicBezTo>
                  <a:cubicBezTo>
                    <a:pt x="173" y="7"/>
                    <a:pt x="173" y="7"/>
                    <a:pt x="173" y="7"/>
                  </a:cubicBezTo>
                  <a:cubicBezTo>
                    <a:pt x="172" y="3"/>
                    <a:pt x="172" y="3"/>
                    <a:pt x="172" y="3"/>
                  </a:cubicBezTo>
                  <a:cubicBezTo>
                    <a:pt x="154" y="11"/>
                    <a:pt x="154" y="11"/>
                    <a:pt x="154" y="11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2" y="49"/>
                    <a:pt x="172" y="49"/>
                    <a:pt x="172" y="49"/>
                  </a:cubicBezTo>
                  <a:cubicBezTo>
                    <a:pt x="171" y="49"/>
                    <a:pt x="170" y="50"/>
                    <a:pt x="169" y="51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58" y="61"/>
                    <a:pt x="158" y="61"/>
                    <a:pt x="158" y="61"/>
                  </a:cubicBezTo>
                  <a:cubicBezTo>
                    <a:pt x="157" y="62"/>
                    <a:pt x="157" y="63"/>
                    <a:pt x="156" y="64"/>
                  </a:cubicBezTo>
                  <a:cubicBezTo>
                    <a:pt x="122" y="51"/>
                    <a:pt x="122" y="51"/>
                    <a:pt x="122" y="51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4"/>
                    <a:pt x="116" y="64"/>
                    <a:pt x="116" y="64"/>
                  </a:cubicBezTo>
                  <a:cubicBezTo>
                    <a:pt x="150" y="78"/>
                    <a:pt x="150" y="78"/>
                    <a:pt x="150" y="78"/>
                  </a:cubicBezTo>
                  <a:cubicBezTo>
                    <a:pt x="150" y="79"/>
                    <a:pt x="149" y="81"/>
                    <a:pt x="149" y="82"/>
                  </a:cubicBezTo>
                  <a:cubicBezTo>
                    <a:pt x="110" y="82"/>
                    <a:pt x="110" y="82"/>
                    <a:pt x="110" y="82"/>
                  </a:cubicBezTo>
                  <a:cubicBezTo>
                    <a:pt x="110" y="80"/>
                    <a:pt x="110" y="80"/>
                    <a:pt x="110" y="80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68" y="80"/>
                    <a:pt x="68" y="80"/>
                    <a:pt x="67" y="80"/>
                  </a:cubicBezTo>
                  <a:cubicBezTo>
                    <a:pt x="63" y="80"/>
                    <a:pt x="59" y="84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9" y="266"/>
                    <a:pt x="59" y="266"/>
                    <a:pt x="59" y="266"/>
                  </a:cubicBezTo>
                  <a:cubicBezTo>
                    <a:pt x="59" y="266"/>
                    <a:pt x="59" y="266"/>
                    <a:pt x="59" y="266"/>
                  </a:cubicBezTo>
                  <a:cubicBezTo>
                    <a:pt x="59" y="277"/>
                    <a:pt x="59" y="277"/>
                    <a:pt x="59" y="277"/>
                  </a:cubicBezTo>
                  <a:cubicBezTo>
                    <a:pt x="59" y="277"/>
                    <a:pt x="59" y="277"/>
                    <a:pt x="59" y="277"/>
                  </a:cubicBezTo>
                  <a:cubicBezTo>
                    <a:pt x="59" y="282"/>
                    <a:pt x="63" y="286"/>
                    <a:pt x="67" y="286"/>
                  </a:cubicBezTo>
                  <a:cubicBezTo>
                    <a:pt x="68" y="286"/>
                    <a:pt x="68" y="286"/>
                    <a:pt x="68" y="286"/>
                  </a:cubicBezTo>
                  <a:cubicBezTo>
                    <a:pt x="108" y="286"/>
                    <a:pt x="108" y="286"/>
                    <a:pt x="108" y="286"/>
                  </a:cubicBezTo>
                  <a:cubicBezTo>
                    <a:pt x="108" y="286"/>
                    <a:pt x="108" y="286"/>
                    <a:pt x="108" y="286"/>
                  </a:cubicBezTo>
                  <a:cubicBezTo>
                    <a:pt x="185" y="286"/>
                    <a:pt x="185" y="286"/>
                    <a:pt x="185" y="286"/>
                  </a:cubicBezTo>
                  <a:cubicBezTo>
                    <a:pt x="185" y="286"/>
                    <a:pt x="185" y="286"/>
                    <a:pt x="185" y="286"/>
                  </a:cubicBezTo>
                  <a:cubicBezTo>
                    <a:pt x="187" y="286"/>
                    <a:pt x="187" y="286"/>
                    <a:pt x="187" y="286"/>
                  </a:cubicBezTo>
                  <a:cubicBezTo>
                    <a:pt x="187" y="307"/>
                    <a:pt x="187" y="307"/>
                    <a:pt x="187" y="307"/>
                  </a:cubicBezTo>
                  <a:cubicBezTo>
                    <a:pt x="185" y="307"/>
                    <a:pt x="185" y="307"/>
                    <a:pt x="185" y="307"/>
                  </a:cubicBezTo>
                  <a:cubicBezTo>
                    <a:pt x="185" y="307"/>
                    <a:pt x="185" y="307"/>
                    <a:pt x="185" y="307"/>
                  </a:cubicBezTo>
                  <a:cubicBezTo>
                    <a:pt x="153" y="307"/>
                    <a:pt x="153" y="307"/>
                    <a:pt x="153" y="307"/>
                  </a:cubicBezTo>
                  <a:cubicBezTo>
                    <a:pt x="153" y="307"/>
                    <a:pt x="153" y="307"/>
                    <a:pt x="153" y="307"/>
                  </a:cubicBezTo>
                  <a:cubicBezTo>
                    <a:pt x="148" y="307"/>
                    <a:pt x="145" y="310"/>
                    <a:pt x="145" y="315"/>
                  </a:cubicBezTo>
                  <a:cubicBezTo>
                    <a:pt x="145" y="315"/>
                    <a:pt x="145" y="315"/>
                    <a:pt x="145" y="315"/>
                  </a:cubicBezTo>
                  <a:cubicBezTo>
                    <a:pt x="145" y="326"/>
                    <a:pt x="145" y="326"/>
                    <a:pt x="145" y="326"/>
                  </a:cubicBezTo>
                  <a:cubicBezTo>
                    <a:pt x="145" y="326"/>
                    <a:pt x="145" y="326"/>
                    <a:pt x="145" y="326"/>
                  </a:cubicBezTo>
                  <a:cubicBezTo>
                    <a:pt x="145" y="351"/>
                    <a:pt x="145" y="351"/>
                    <a:pt x="145" y="351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87" y="400"/>
                    <a:pt x="87" y="400"/>
                    <a:pt x="87" y="400"/>
                  </a:cubicBezTo>
                  <a:cubicBezTo>
                    <a:pt x="103" y="418"/>
                    <a:pt x="103" y="418"/>
                    <a:pt x="103" y="418"/>
                  </a:cubicBezTo>
                  <a:cubicBezTo>
                    <a:pt x="103" y="451"/>
                    <a:pt x="103" y="451"/>
                    <a:pt x="103" y="451"/>
                  </a:cubicBezTo>
                  <a:cubicBezTo>
                    <a:pt x="122" y="459"/>
                    <a:pt x="122" y="459"/>
                    <a:pt x="122" y="459"/>
                  </a:cubicBezTo>
                  <a:cubicBezTo>
                    <a:pt x="122" y="505"/>
                    <a:pt x="122" y="505"/>
                    <a:pt x="122" y="505"/>
                  </a:cubicBezTo>
                  <a:cubicBezTo>
                    <a:pt x="38" y="520"/>
                    <a:pt x="7" y="539"/>
                    <a:pt x="4" y="540"/>
                  </a:cubicBezTo>
                  <a:cubicBezTo>
                    <a:pt x="0" y="540"/>
                    <a:pt x="19" y="543"/>
                    <a:pt x="46" y="556"/>
                  </a:cubicBezTo>
                  <a:cubicBezTo>
                    <a:pt x="80" y="572"/>
                    <a:pt x="76" y="581"/>
                    <a:pt x="76" y="581"/>
                  </a:cubicBezTo>
                  <a:cubicBezTo>
                    <a:pt x="76" y="581"/>
                    <a:pt x="135" y="543"/>
                    <a:pt x="263" y="520"/>
                  </a:cubicBezTo>
                  <a:cubicBezTo>
                    <a:pt x="330" y="508"/>
                    <a:pt x="451" y="503"/>
                    <a:pt x="495" y="512"/>
                  </a:cubicBezTo>
                  <a:cubicBezTo>
                    <a:pt x="495" y="512"/>
                    <a:pt x="461" y="504"/>
                    <a:pt x="413" y="4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53">
              <a:extLst>
                <a:ext uri="{FF2B5EF4-FFF2-40B4-BE49-F238E27FC236}">
                  <a16:creationId xmlns:a16="http://schemas.microsoft.com/office/drawing/2014/main" id="{CC5E87EE-A223-4776-97FA-680101AB21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4858" y="3977648"/>
              <a:ext cx="1793875" cy="1787526"/>
            </a:xfrm>
            <a:custGeom>
              <a:avLst/>
              <a:gdLst>
                <a:gd name="T0" fmla="*/ 484 w 968"/>
                <a:gd name="T1" fmla="*/ 953 h 967"/>
                <a:gd name="T2" fmla="*/ 14 w 968"/>
                <a:gd name="T3" fmla="*/ 482 h 967"/>
                <a:gd name="T4" fmla="*/ 484 w 968"/>
                <a:gd name="T5" fmla="*/ 12 h 967"/>
                <a:gd name="T6" fmla="*/ 954 w 968"/>
                <a:gd name="T7" fmla="*/ 482 h 967"/>
                <a:gd name="T8" fmla="*/ 484 w 968"/>
                <a:gd name="T9" fmla="*/ 953 h 967"/>
                <a:gd name="T10" fmla="*/ 484 w 968"/>
                <a:gd name="T11" fmla="*/ 0 h 967"/>
                <a:gd name="T12" fmla="*/ 0 w 968"/>
                <a:gd name="T13" fmla="*/ 483 h 967"/>
                <a:gd name="T14" fmla="*/ 484 w 968"/>
                <a:gd name="T15" fmla="*/ 967 h 967"/>
                <a:gd name="T16" fmla="*/ 968 w 968"/>
                <a:gd name="T17" fmla="*/ 483 h 967"/>
                <a:gd name="T18" fmla="*/ 484 w 968"/>
                <a:gd name="T19" fmla="*/ 0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8" h="967">
                  <a:moveTo>
                    <a:pt x="484" y="953"/>
                  </a:moveTo>
                  <a:cubicBezTo>
                    <a:pt x="224" y="953"/>
                    <a:pt x="14" y="742"/>
                    <a:pt x="14" y="482"/>
                  </a:cubicBezTo>
                  <a:cubicBezTo>
                    <a:pt x="14" y="223"/>
                    <a:pt x="224" y="12"/>
                    <a:pt x="484" y="12"/>
                  </a:cubicBezTo>
                  <a:cubicBezTo>
                    <a:pt x="744" y="12"/>
                    <a:pt x="954" y="223"/>
                    <a:pt x="954" y="482"/>
                  </a:cubicBezTo>
                  <a:cubicBezTo>
                    <a:pt x="954" y="742"/>
                    <a:pt x="744" y="953"/>
                    <a:pt x="484" y="953"/>
                  </a:cubicBezTo>
                  <a:close/>
                  <a:moveTo>
                    <a:pt x="484" y="0"/>
                  </a:moveTo>
                  <a:cubicBezTo>
                    <a:pt x="217" y="0"/>
                    <a:pt x="0" y="216"/>
                    <a:pt x="0" y="483"/>
                  </a:cubicBezTo>
                  <a:cubicBezTo>
                    <a:pt x="0" y="750"/>
                    <a:pt x="217" y="967"/>
                    <a:pt x="484" y="967"/>
                  </a:cubicBezTo>
                  <a:cubicBezTo>
                    <a:pt x="751" y="967"/>
                    <a:pt x="968" y="750"/>
                    <a:pt x="968" y="483"/>
                  </a:cubicBezTo>
                  <a:cubicBezTo>
                    <a:pt x="968" y="216"/>
                    <a:pt x="751" y="0"/>
                    <a:pt x="48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54">
              <a:extLst>
                <a:ext uri="{FF2B5EF4-FFF2-40B4-BE49-F238E27FC236}">
                  <a16:creationId xmlns:a16="http://schemas.microsoft.com/office/drawing/2014/main" id="{AA1BD646-AD69-4E37-AAC4-EEC540BF9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058" y="4552323"/>
              <a:ext cx="65088" cy="60325"/>
            </a:xfrm>
            <a:custGeom>
              <a:avLst/>
              <a:gdLst>
                <a:gd name="T0" fmla="*/ 23 w 35"/>
                <a:gd name="T1" fmla="*/ 3 h 32"/>
                <a:gd name="T2" fmla="*/ 10 w 35"/>
                <a:gd name="T3" fmla="*/ 1 h 32"/>
                <a:gd name="T4" fmla="*/ 2 w 35"/>
                <a:gd name="T5" fmla="*/ 9 h 32"/>
                <a:gd name="T6" fmla="*/ 1 w 35"/>
                <a:gd name="T7" fmla="*/ 20 h 32"/>
                <a:gd name="T8" fmla="*/ 11 w 35"/>
                <a:gd name="T9" fmla="*/ 29 h 32"/>
                <a:gd name="T10" fmla="*/ 25 w 35"/>
                <a:gd name="T11" fmla="*/ 31 h 32"/>
                <a:gd name="T12" fmla="*/ 33 w 35"/>
                <a:gd name="T13" fmla="*/ 23 h 32"/>
                <a:gd name="T14" fmla="*/ 33 w 35"/>
                <a:gd name="T15" fmla="*/ 12 h 32"/>
                <a:gd name="T16" fmla="*/ 23 w 35"/>
                <a:gd name="T1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32">
                  <a:moveTo>
                    <a:pt x="23" y="3"/>
                  </a:moveTo>
                  <a:cubicBezTo>
                    <a:pt x="18" y="0"/>
                    <a:pt x="13" y="0"/>
                    <a:pt x="10" y="1"/>
                  </a:cubicBezTo>
                  <a:cubicBezTo>
                    <a:pt x="6" y="2"/>
                    <a:pt x="3" y="5"/>
                    <a:pt x="2" y="9"/>
                  </a:cubicBezTo>
                  <a:cubicBezTo>
                    <a:pt x="0" y="13"/>
                    <a:pt x="0" y="17"/>
                    <a:pt x="1" y="20"/>
                  </a:cubicBezTo>
                  <a:cubicBezTo>
                    <a:pt x="3" y="24"/>
                    <a:pt x="6" y="27"/>
                    <a:pt x="11" y="29"/>
                  </a:cubicBezTo>
                  <a:cubicBezTo>
                    <a:pt x="16" y="31"/>
                    <a:pt x="21" y="32"/>
                    <a:pt x="25" y="31"/>
                  </a:cubicBezTo>
                  <a:cubicBezTo>
                    <a:pt x="28" y="29"/>
                    <a:pt x="31" y="27"/>
                    <a:pt x="33" y="23"/>
                  </a:cubicBezTo>
                  <a:cubicBezTo>
                    <a:pt x="35" y="19"/>
                    <a:pt x="35" y="15"/>
                    <a:pt x="33" y="12"/>
                  </a:cubicBezTo>
                  <a:cubicBezTo>
                    <a:pt x="32" y="8"/>
                    <a:pt x="28" y="5"/>
                    <a:pt x="2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55">
              <a:extLst>
                <a:ext uri="{FF2B5EF4-FFF2-40B4-BE49-F238E27FC236}">
                  <a16:creationId xmlns:a16="http://schemas.microsoft.com/office/drawing/2014/main" id="{9B01B03D-283E-4353-B117-5BD2E6498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145" y="5347661"/>
              <a:ext cx="41275" cy="74613"/>
            </a:xfrm>
            <a:custGeom>
              <a:avLst/>
              <a:gdLst>
                <a:gd name="T0" fmla="*/ 22 w 22"/>
                <a:gd name="T1" fmla="*/ 0 h 40"/>
                <a:gd name="T2" fmla="*/ 22 w 22"/>
                <a:gd name="T3" fmla="*/ 40 h 40"/>
                <a:gd name="T4" fmla="*/ 11 w 22"/>
                <a:gd name="T5" fmla="*/ 40 h 40"/>
                <a:gd name="T6" fmla="*/ 11 w 22"/>
                <a:gd name="T7" fmla="*/ 14 h 40"/>
                <a:gd name="T8" fmla="*/ 6 w 22"/>
                <a:gd name="T9" fmla="*/ 17 h 40"/>
                <a:gd name="T10" fmla="*/ 0 w 22"/>
                <a:gd name="T11" fmla="*/ 19 h 40"/>
                <a:gd name="T12" fmla="*/ 0 w 22"/>
                <a:gd name="T13" fmla="*/ 11 h 40"/>
                <a:gd name="T14" fmla="*/ 8 w 22"/>
                <a:gd name="T15" fmla="*/ 6 h 40"/>
                <a:gd name="T16" fmla="*/ 13 w 22"/>
                <a:gd name="T17" fmla="*/ 0 h 40"/>
                <a:gd name="T18" fmla="*/ 22 w 22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40">
                  <a:moveTo>
                    <a:pt x="22" y="0"/>
                  </a:moveTo>
                  <a:cubicBezTo>
                    <a:pt x="22" y="40"/>
                    <a:pt x="22" y="40"/>
                    <a:pt x="22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9" y="15"/>
                    <a:pt x="8" y="16"/>
                    <a:pt x="6" y="17"/>
                  </a:cubicBezTo>
                  <a:cubicBezTo>
                    <a:pt x="4" y="18"/>
                    <a:pt x="2" y="19"/>
                    <a:pt x="0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0"/>
                    <a:pt x="6" y="8"/>
                    <a:pt x="8" y="6"/>
                  </a:cubicBezTo>
                  <a:cubicBezTo>
                    <a:pt x="10" y="5"/>
                    <a:pt x="12" y="3"/>
                    <a:pt x="13" y="0"/>
                  </a:cubicBez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56">
              <a:extLst>
                <a:ext uri="{FF2B5EF4-FFF2-40B4-BE49-F238E27FC236}">
                  <a16:creationId xmlns:a16="http://schemas.microsoft.com/office/drawing/2014/main" id="{E3DC6487-2035-4D8C-ABD9-65015B932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9883" y="5347661"/>
              <a:ext cx="60325" cy="74613"/>
            </a:xfrm>
            <a:custGeom>
              <a:avLst/>
              <a:gdLst>
                <a:gd name="T0" fmla="*/ 21 w 32"/>
                <a:gd name="T1" fmla="*/ 14 h 40"/>
                <a:gd name="T2" fmla="*/ 19 w 32"/>
                <a:gd name="T3" fmla="*/ 9 h 40"/>
                <a:gd name="T4" fmla="*/ 15 w 32"/>
                <a:gd name="T5" fmla="*/ 7 h 40"/>
                <a:gd name="T6" fmla="*/ 12 w 32"/>
                <a:gd name="T7" fmla="*/ 9 h 40"/>
                <a:gd name="T8" fmla="*/ 10 w 32"/>
                <a:gd name="T9" fmla="*/ 13 h 40"/>
                <a:gd name="T10" fmla="*/ 12 w 32"/>
                <a:gd name="T11" fmla="*/ 18 h 40"/>
                <a:gd name="T12" fmla="*/ 15 w 32"/>
                <a:gd name="T13" fmla="*/ 20 h 40"/>
                <a:gd name="T14" fmla="*/ 19 w 32"/>
                <a:gd name="T15" fmla="*/ 18 h 40"/>
                <a:gd name="T16" fmla="*/ 21 w 32"/>
                <a:gd name="T17" fmla="*/ 14 h 40"/>
                <a:gd name="T18" fmla="*/ 1 w 32"/>
                <a:gd name="T19" fmla="*/ 31 h 40"/>
                <a:gd name="T20" fmla="*/ 12 w 32"/>
                <a:gd name="T21" fmla="*/ 30 h 40"/>
                <a:gd name="T22" fmla="*/ 13 w 32"/>
                <a:gd name="T23" fmla="*/ 33 h 40"/>
                <a:gd name="T24" fmla="*/ 15 w 32"/>
                <a:gd name="T25" fmla="*/ 34 h 40"/>
                <a:gd name="T26" fmla="*/ 20 w 32"/>
                <a:gd name="T27" fmla="*/ 31 h 40"/>
                <a:gd name="T28" fmla="*/ 21 w 32"/>
                <a:gd name="T29" fmla="*/ 23 h 40"/>
                <a:gd name="T30" fmla="*/ 17 w 32"/>
                <a:gd name="T31" fmla="*/ 26 h 40"/>
                <a:gd name="T32" fmla="*/ 13 w 32"/>
                <a:gd name="T33" fmla="*/ 27 h 40"/>
                <a:gd name="T34" fmla="*/ 4 w 32"/>
                <a:gd name="T35" fmla="*/ 23 h 40"/>
                <a:gd name="T36" fmla="*/ 0 w 32"/>
                <a:gd name="T37" fmla="*/ 14 h 40"/>
                <a:gd name="T38" fmla="*/ 2 w 32"/>
                <a:gd name="T39" fmla="*/ 7 h 40"/>
                <a:gd name="T40" fmla="*/ 7 w 32"/>
                <a:gd name="T41" fmla="*/ 2 h 40"/>
                <a:gd name="T42" fmla="*/ 15 w 32"/>
                <a:gd name="T43" fmla="*/ 0 h 40"/>
                <a:gd name="T44" fmla="*/ 24 w 32"/>
                <a:gd name="T45" fmla="*/ 2 h 40"/>
                <a:gd name="T46" fmla="*/ 30 w 32"/>
                <a:gd name="T47" fmla="*/ 9 h 40"/>
                <a:gd name="T48" fmla="*/ 32 w 32"/>
                <a:gd name="T49" fmla="*/ 20 h 40"/>
                <a:gd name="T50" fmla="*/ 28 w 32"/>
                <a:gd name="T51" fmla="*/ 35 h 40"/>
                <a:gd name="T52" fmla="*/ 15 w 32"/>
                <a:gd name="T53" fmla="*/ 40 h 40"/>
                <a:gd name="T54" fmla="*/ 8 w 32"/>
                <a:gd name="T55" fmla="*/ 39 h 40"/>
                <a:gd name="T56" fmla="*/ 4 w 32"/>
                <a:gd name="T57" fmla="*/ 36 h 40"/>
                <a:gd name="T58" fmla="*/ 1 w 32"/>
                <a:gd name="T59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" h="40">
                  <a:moveTo>
                    <a:pt x="21" y="14"/>
                  </a:moveTo>
                  <a:cubicBezTo>
                    <a:pt x="21" y="12"/>
                    <a:pt x="20" y="10"/>
                    <a:pt x="19" y="9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1" y="10"/>
                    <a:pt x="10" y="11"/>
                    <a:pt x="10" y="13"/>
                  </a:cubicBezTo>
                  <a:cubicBezTo>
                    <a:pt x="10" y="16"/>
                    <a:pt x="11" y="17"/>
                    <a:pt x="12" y="18"/>
                  </a:cubicBezTo>
                  <a:cubicBezTo>
                    <a:pt x="13" y="20"/>
                    <a:pt x="14" y="20"/>
                    <a:pt x="15" y="20"/>
                  </a:cubicBezTo>
                  <a:cubicBezTo>
                    <a:pt x="17" y="20"/>
                    <a:pt x="18" y="20"/>
                    <a:pt x="19" y="18"/>
                  </a:cubicBezTo>
                  <a:cubicBezTo>
                    <a:pt x="20" y="17"/>
                    <a:pt x="21" y="16"/>
                    <a:pt x="21" y="14"/>
                  </a:cubicBezTo>
                  <a:close/>
                  <a:moveTo>
                    <a:pt x="1" y="31"/>
                  </a:moveTo>
                  <a:cubicBezTo>
                    <a:pt x="12" y="30"/>
                    <a:pt x="12" y="30"/>
                    <a:pt x="12" y="30"/>
                  </a:cubicBezTo>
                  <a:cubicBezTo>
                    <a:pt x="12" y="31"/>
                    <a:pt x="12" y="32"/>
                    <a:pt x="13" y="33"/>
                  </a:cubicBezTo>
                  <a:cubicBezTo>
                    <a:pt x="14" y="33"/>
                    <a:pt x="15" y="34"/>
                    <a:pt x="15" y="34"/>
                  </a:cubicBezTo>
                  <a:cubicBezTo>
                    <a:pt x="17" y="34"/>
                    <a:pt x="19" y="33"/>
                    <a:pt x="20" y="31"/>
                  </a:cubicBezTo>
                  <a:cubicBezTo>
                    <a:pt x="20" y="30"/>
                    <a:pt x="21" y="27"/>
                    <a:pt x="21" y="23"/>
                  </a:cubicBezTo>
                  <a:cubicBezTo>
                    <a:pt x="20" y="24"/>
                    <a:pt x="19" y="25"/>
                    <a:pt x="17" y="26"/>
                  </a:cubicBezTo>
                  <a:cubicBezTo>
                    <a:pt x="16" y="26"/>
                    <a:pt x="14" y="27"/>
                    <a:pt x="13" y="27"/>
                  </a:cubicBezTo>
                  <a:cubicBezTo>
                    <a:pt x="9" y="27"/>
                    <a:pt x="6" y="26"/>
                    <a:pt x="4" y="23"/>
                  </a:cubicBezTo>
                  <a:cubicBezTo>
                    <a:pt x="1" y="21"/>
                    <a:pt x="0" y="17"/>
                    <a:pt x="0" y="14"/>
                  </a:cubicBezTo>
                  <a:cubicBezTo>
                    <a:pt x="0" y="11"/>
                    <a:pt x="1" y="9"/>
                    <a:pt x="2" y="7"/>
                  </a:cubicBezTo>
                  <a:cubicBezTo>
                    <a:pt x="3" y="5"/>
                    <a:pt x="5" y="3"/>
                    <a:pt x="7" y="2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7" y="4"/>
                    <a:pt x="29" y="6"/>
                    <a:pt x="30" y="9"/>
                  </a:cubicBezTo>
                  <a:cubicBezTo>
                    <a:pt x="31" y="11"/>
                    <a:pt x="32" y="15"/>
                    <a:pt x="32" y="20"/>
                  </a:cubicBezTo>
                  <a:cubicBezTo>
                    <a:pt x="32" y="27"/>
                    <a:pt x="31" y="32"/>
                    <a:pt x="28" y="35"/>
                  </a:cubicBezTo>
                  <a:cubicBezTo>
                    <a:pt x="25" y="39"/>
                    <a:pt x="21" y="40"/>
                    <a:pt x="15" y="40"/>
                  </a:cubicBezTo>
                  <a:cubicBezTo>
                    <a:pt x="12" y="40"/>
                    <a:pt x="10" y="40"/>
                    <a:pt x="8" y="39"/>
                  </a:cubicBezTo>
                  <a:cubicBezTo>
                    <a:pt x="6" y="38"/>
                    <a:pt x="5" y="37"/>
                    <a:pt x="4" y="36"/>
                  </a:cubicBezTo>
                  <a:cubicBezTo>
                    <a:pt x="2" y="35"/>
                    <a:pt x="2" y="33"/>
                    <a:pt x="1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57">
              <a:extLst>
                <a:ext uri="{FF2B5EF4-FFF2-40B4-BE49-F238E27FC236}">
                  <a16:creationId xmlns:a16="http://schemas.microsoft.com/office/drawing/2014/main" id="{BD4D8A61-5B58-4064-98B6-EA0590331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4970" y="5349248"/>
              <a:ext cx="60325" cy="73025"/>
            </a:xfrm>
            <a:custGeom>
              <a:avLst/>
              <a:gdLst>
                <a:gd name="T0" fmla="*/ 4 w 32"/>
                <a:gd name="T1" fmla="*/ 0 h 39"/>
                <a:gd name="T2" fmla="*/ 30 w 32"/>
                <a:gd name="T3" fmla="*/ 0 h 39"/>
                <a:gd name="T4" fmla="*/ 30 w 32"/>
                <a:gd name="T5" fmla="*/ 8 h 39"/>
                <a:gd name="T6" fmla="*/ 13 w 32"/>
                <a:gd name="T7" fmla="*/ 8 h 39"/>
                <a:gd name="T8" fmla="*/ 12 w 32"/>
                <a:gd name="T9" fmla="*/ 14 h 39"/>
                <a:gd name="T10" fmla="*/ 15 w 32"/>
                <a:gd name="T11" fmla="*/ 13 h 39"/>
                <a:gd name="T12" fmla="*/ 19 w 32"/>
                <a:gd name="T13" fmla="*/ 13 h 39"/>
                <a:gd name="T14" fmla="*/ 28 w 32"/>
                <a:gd name="T15" fmla="*/ 16 h 39"/>
                <a:gd name="T16" fmla="*/ 32 w 32"/>
                <a:gd name="T17" fmla="*/ 25 h 39"/>
                <a:gd name="T18" fmla="*/ 30 w 32"/>
                <a:gd name="T19" fmla="*/ 32 h 39"/>
                <a:gd name="T20" fmla="*/ 25 w 32"/>
                <a:gd name="T21" fmla="*/ 37 h 39"/>
                <a:gd name="T22" fmla="*/ 16 w 32"/>
                <a:gd name="T23" fmla="*/ 39 h 39"/>
                <a:gd name="T24" fmla="*/ 9 w 32"/>
                <a:gd name="T25" fmla="*/ 39 h 39"/>
                <a:gd name="T26" fmla="*/ 5 w 32"/>
                <a:gd name="T27" fmla="*/ 36 h 39"/>
                <a:gd name="T28" fmla="*/ 2 w 32"/>
                <a:gd name="T29" fmla="*/ 33 h 39"/>
                <a:gd name="T30" fmla="*/ 0 w 32"/>
                <a:gd name="T31" fmla="*/ 29 h 39"/>
                <a:gd name="T32" fmla="*/ 11 w 32"/>
                <a:gd name="T33" fmla="*/ 27 h 39"/>
                <a:gd name="T34" fmla="*/ 12 w 32"/>
                <a:gd name="T35" fmla="*/ 31 h 39"/>
                <a:gd name="T36" fmla="*/ 16 w 32"/>
                <a:gd name="T37" fmla="*/ 33 h 39"/>
                <a:gd name="T38" fmla="*/ 20 w 32"/>
                <a:gd name="T39" fmla="*/ 31 h 39"/>
                <a:gd name="T40" fmla="*/ 21 w 32"/>
                <a:gd name="T41" fmla="*/ 26 h 39"/>
                <a:gd name="T42" fmla="*/ 20 w 32"/>
                <a:gd name="T43" fmla="*/ 21 h 39"/>
                <a:gd name="T44" fmla="*/ 16 w 32"/>
                <a:gd name="T45" fmla="*/ 19 h 39"/>
                <a:gd name="T46" fmla="*/ 13 w 32"/>
                <a:gd name="T47" fmla="*/ 20 h 39"/>
                <a:gd name="T48" fmla="*/ 10 w 32"/>
                <a:gd name="T49" fmla="*/ 22 h 39"/>
                <a:gd name="T50" fmla="*/ 1 w 32"/>
                <a:gd name="T51" fmla="*/ 21 h 39"/>
                <a:gd name="T52" fmla="*/ 4 w 32"/>
                <a:gd name="T5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39">
                  <a:moveTo>
                    <a:pt x="4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4" y="13"/>
                    <a:pt x="15" y="13"/>
                  </a:cubicBezTo>
                  <a:cubicBezTo>
                    <a:pt x="17" y="13"/>
                    <a:pt x="18" y="13"/>
                    <a:pt x="19" y="13"/>
                  </a:cubicBezTo>
                  <a:cubicBezTo>
                    <a:pt x="23" y="13"/>
                    <a:pt x="26" y="14"/>
                    <a:pt x="28" y="16"/>
                  </a:cubicBezTo>
                  <a:cubicBezTo>
                    <a:pt x="31" y="18"/>
                    <a:pt x="32" y="21"/>
                    <a:pt x="32" y="25"/>
                  </a:cubicBezTo>
                  <a:cubicBezTo>
                    <a:pt x="32" y="27"/>
                    <a:pt x="31" y="30"/>
                    <a:pt x="30" y="32"/>
                  </a:cubicBezTo>
                  <a:cubicBezTo>
                    <a:pt x="29" y="35"/>
                    <a:pt x="27" y="36"/>
                    <a:pt x="25" y="37"/>
                  </a:cubicBezTo>
                  <a:cubicBezTo>
                    <a:pt x="22" y="39"/>
                    <a:pt x="20" y="39"/>
                    <a:pt x="16" y="39"/>
                  </a:cubicBezTo>
                  <a:cubicBezTo>
                    <a:pt x="13" y="39"/>
                    <a:pt x="11" y="39"/>
                    <a:pt x="9" y="39"/>
                  </a:cubicBezTo>
                  <a:cubicBezTo>
                    <a:pt x="8" y="38"/>
                    <a:pt x="6" y="37"/>
                    <a:pt x="5" y="36"/>
                  </a:cubicBezTo>
                  <a:cubicBezTo>
                    <a:pt x="4" y="35"/>
                    <a:pt x="2" y="34"/>
                    <a:pt x="2" y="33"/>
                  </a:cubicBezTo>
                  <a:cubicBezTo>
                    <a:pt x="1" y="32"/>
                    <a:pt x="0" y="30"/>
                    <a:pt x="0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9"/>
                    <a:pt x="11" y="30"/>
                    <a:pt x="12" y="31"/>
                  </a:cubicBezTo>
                  <a:cubicBezTo>
                    <a:pt x="13" y="32"/>
                    <a:pt x="15" y="33"/>
                    <a:pt x="16" y="33"/>
                  </a:cubicBezTo>
                  <a:cubicBezTo>
                    <a:pt x="17" y="33"/>
                    <a:pt x="19" y="32"/>
                    <a:pt x="20" y="31"/>
                  </a:cubicBezTo>
                  <a:cubicBezTo>
                    <a:pt x="21" y="30"/>
                    <a:pt x="21" y="28"/>
                    <a:pt x="21" y="26"/>
                  </a:cubicBezTo>
                  <a:cubicBezTo>
                    <a:pt x="21" y="24"/>
                    <a:pt x="21" y="22"/>
                    <a:pt x="20" y="21"/>
                  </a:cubicBezTo>
                  <a:cubicBezTo>
                    <a:pt x="19" y="20"/>
                    <a:pt x="17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2" y="20"/>
                    <a:pt x="11" y="21"/>
                    <a:pt x="10" y="22"/>
                  </a:cubicBezTo>
                  <a:cubicBezTo>
                    <a:pt x="1" y="21"/>
                    <a:pt x="1" y="21"/>
                    <a:pt x="1" y="21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58">
              <a:extLst>
                <a:ext uri="{FF2B5EF4-FFF2-40B4-BE49-F238E27FC236}">
                  <a16:creationId xmlns:a16="http://schemas.microsoft.com/office/drawing/2014/main" id="{DCDD3F66-1FE9-4C27-BA82-07FB09731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0058" y="5347661"/>
              <a:ext cx="57150" cy="74613"/>
            </a:xfrm>
            <a:custGeom>
              <a:avLst/>
              <a:gdLst>
                <a:gd name="T0" fmla="*/ 10 w 31"/>
                <a:gd name="T1" fmla="*/ 12 h 40"/>
                <a:gd name="T2" fmla="*/ 0 w 31"/>
                <a:gd name="T3" fmla="*/ 10 h 40"/>
                <a:gd name="T4" fmla="*/ 5 w 31"/>
                <a:gd name="T5" fmla="*/ 3 h 40"/>
                <a:gd name="T6" fmla="*/ 15 w 31"/>
                <a:gd name="T7" fmla="*/ 0 h 40"/>
                <a:gd name="T8" fmla="*/ 26 w 31"/>
                <a:gd name="T9" fmla="*/ 3 h 40"/>
                <a:gd name="T10" fmla="*/ 30 w 31"/>
                <a:gd name="T11" fmla="*/ 10 h 40"/>
                <a:gd name="T12" fmla="*/ 28 w 31"/>
                <a:gd name="T13" fmla="*/ 15 h 40"/>
                <a:gd name="T14" fmla="*/ 24 w 31"/>
                <a:gd name="T15" fmla="*/ 18 h 40"/>
                <a:gd name="T16" fmla="*/ 27 w 31"/>
                <a:gd name="T17" fmla="*/ 20 h 40"/>
                <a:gd name="T18" fmla="*/ 30 w 31"/>
                <a:gd name="T19" fmla="*/ 23 h 40"/>
                <a:gd name="T20" fmla="*/ 31 w 31"/>
                <a:gd name="T21" fmla="*/ 27 h 40"/>
                <a:gd name="T22" fmla="*/ 30 w 31"/>
                <a:gd name="T23" fmla="*/ 34 h 40"/>
                <a:gd name="T24" fmla="*/ 25 w 31"/>
                <a:gd name="T25" fmla="*/ 39 h 40"/>
                <a:gd name="T26" fmla="*/ 16 w 31"/>
                <a:gd name="T27" fmla="*/ 40 h 40"/>
                <a:gd name="T28" fmla="*/ 8 w 31"/>
                <a:gd name="T29" fmla="*/ 39 h 40"/>
                <a:gd name="T30" fmla="*/ 3 w 31"/>
                <a:gd name="T31" fmla="*/ 35 h 40"/>
                <a:gd name="T32" fmla="*/ 0 w 31"/>
                <a:gd name="T33" fmla="*/ 29 h 40"/>
                <a:gd name="T34" fmla="*/ 10 w 31"/>
                <a:gd name="T35" fmla="*/ 28 h 40"/>
                <a:gd name="T36" fmla="*/ 12 w 31"/>
                <a:gd name="T37" fmla="*/ 32 h 40"/>
                <a:gd name="T38" fmla="*/ 16 w 31"/>
                <a:gd name="T39" fmla="*/ 34 h 40"/>
                <a:gd name="T40" fmla="*/ 19 w 31"/>
                <a:gd name="T41" fmla="*/ 32 h 40"/>
                <a:gd name="T42" fmla="*/ 21 w 31"/>
                <a:gd name="T43" fmla="*/ 28 h 40"/>
                <a:gd name="T44" fmla="*/ 19 w 31"/>
                <a:gd name="T45" fmla="*/ 24 h 40"/>
                <a:gd name="T46" fmla="*/ 15 w 31"/>
                <a:gd name="T47" fmla="*/ 22 h 40"/>
                <a:gd name="T48" fmla="*/ 12 w 31"/>
                <a:gd name="T49" fmla="*/ 23 h 40"/>
                <a:gd name="T50" fmla="*/ 13 w 31"/>
                <a:gd name="T51" fmla="*/ 15 h 40"/>
                <a:gd name="T52" fmla="*/ 14 w 31"/>
                <a:gd name="T53" fmla="*/ 15 h 40"/>
                <a:gd name="T54" fmla="*/ 17 w 31"/>
                <a:gd name="T55" fmla="*/ 14 h 40"/>
                <a:gd name="T56" fmla="*/ 19 w 31"/>
                <a:gd name="T57" fmla="*/ 11 h 40"/>
                <a:gd name="T58" fmla="*/ 18 w 31"/>
                <a:gd name="T59" fmla="*/ 8 h 40"/>
                <a:gd name="T60" fmla="*/ 15 w 31"/>
                <a:gd name="T61" fmla="*/ 7 h 40"/>
                <a:gd name="T62" fmla="*/ 12 w 31"/>
                <a:gd name="T63" fmla="*/ 8 h 40"/>
                <a:gd name="T64" fmla="*/ 10 w 31"/>
                <a:gd name="T6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" h="40">
                  <a:moveTo>
                    <a:pt x="10" y="1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1" y="7"/>
                    <a:pt x="3" y="5"/>
                    <a:pt x="5" y="3"/>
                  </a:cubicBezTo>
                  <a:cubicBezTo>
                    <a:pt x="7" y="1"/>
                    <a:pt x="11" y="0"/>
                    <a:pt x="15" y="0"/>
                  </a:cubicBezTo>
                  <a:cubicBezTo>
                    <a:pt x="20" y="0"/>
                    <a:pt x="24" y="1"/>
                    <a:pt x="26" y="3"/>
                  </a:cubicBezTo>
                  <a:cubicBezTo>
                    <a:pt x="28" y="5"/>
                    <a:pt x="30" y="7"/>
                    <a:pt x="30" y="10"/>
                  </a:cubicBezTo>
                  <a:cubicBezTo>
                    <a:pt x="30" y="12"/>
                    <a:pt x="29" y="13"/>
                    <a:pt x="28" y="15"/>
                  </a:cubicBezTo>
                  <a:cubicBezTo>
                    <a:pt x="27" y="16"/>
                    <a:pt x="26" y="17"/>
                    <a:pt x="24" y="18"/>
                  </a:cubicBezTo>
                  <a:cubicBezTo>
                    <a:pt x="25" y="19"/>
                    <a:pt x="27" y="19"/>
                    <a:pt x="27" y="20"/>
                  </a:cubicBezTo>
                  <a:cubicBezTo>
                    <a:pt x="29" y="20"/>
                    <a:pt x="30" y="21"/>
                    <a:pt x="30" y="23"/>
                  </a:cubicBezTo>
                  <a:cubicBezTo>
                    <a:pt x="31" y="24"/>
                    <a:pt x="31" y="26"/>
                    <a:pt x="31" y="27"/>
                  </a:cubicBezTo>
                  <a:cubicBezTo>
                    <a:pt x="31" y="30"/>
                    <a:pt x="31" y="32"/>
                    <a:pt x="30" y="34"/>
                  </a:cubicBezTo>
                  <a:cubicBezTo>
                    <a:pt x="29" y="36"/>
                    <a:pt x="27" y="38"/>
                    <a:pt x="25" y="39"/>
                  </a:cubicBezTo>
                  <a:cubicBezTo>
                    <a:pt x="22" y="40"/>
                    <a:pt x="19" y="40"/>
                    <a:pt x="16" y="40"/>
                  </a:cubicBezTo>
                  <a:cubicBezTo>
                    <a:pt x="12" y="40"/>
                    <a:pt x="10" y="40"/>
                    <a:pt x="8" y="39"/>
                  </a:cubicBezTo>
                  <a:cubicBezTo>
                    <a:pt x="6" y="38"/>
                    <a:pt x="4" y="37"/>
                    <a:pt x="3" y="35"/>
                  </a:cubicBezTo>
                  <a:cubicBezTo>
                    <a:pt x="1" y="34"/>
                    <a:pt x="0" y="32"/>
                    <a:pt x="0" y="2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30"/>
                    <a:pt x="11" y="32"/>
                    <a:pt x="12" y="32"/>
                  </a:cubicBezTo>
                  <a:cubicBezTo>
                    <a:pt x="13" y="33"/>
                    <a:pt x="14" y="34"/>
                    <a:pt x="16" y="34"/>
                  </a:cubicBezTo>
                  <a:cubicBezTo>
                    <a:pt x="17" y="34"/>
                    <a:pt x="18" y="33"/>
                    <a:pt x="19" y="32"/>
                  </a:cubicBezTo>
                  <a:cubicBezTo>
                    <a:pt x="20" y="31"/>
                    <a:pt x="21" y="30"/>
                    <a:pt x="21" y="28"/>
                  </a:cubicBezTo>
                  <a:cubicBezTo>
                    <a:pt x="21" y="26"/>
                    <a:pt x="20" y="25"/>
                    <a:pt x="19" y="24"/>
                  </a:cubicBezTo>
                  <a:cubicBezTo>
                    <a:pt x="18" y="23"/>
                    <a:pt x="17" y="22"/>
                    <a:pt x="15" y="22"/>
                  </a:cubicBezTo>
                  <a:cubicBezTo>
                    <a:pt x="15" y="22"/>
                    <a:pt x="14" y="23"/>
                    <a:pt x="12" y="23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5" y="15"/>
                    <a:pt x="17" y="15"/>
                    <a:pt x="17" y="14"/>
                  </a:cubicBezTo>
                  <a:cubicBezTo>
                    <a:pt x="18" y="13"/>
                    <a:pt x="19" y="12"/>
                    <a:pt x="19" y="11"/>
                  </a:cubicBezTo>
                  <a:cubicBezTo>
                    <a:pt x="19" y="10"/>
                    <a:pt x="18" y="9"/>
                    <a:pt x="18" y="8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4" y="7"/>
                    <a:pt x="13" y="7"/>
                    <a:pt x="12" y="8"/>
                  </a:cubicBezTo>
                  <a:cubicBezTo>
                    <a:pt x="11" y="9"/>
                    <a:pt x="11" y="10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59">
              <a:extLst>
                <a:ext uri="{FF2B5EF4-FFF2-40B4-BE49-F238E27FC236}">
                  <a16:creationId xmlns:a16="http://schemas.microsoft.com/office/drawing/2014/main" id="{04F6FD11-E0D4-43B4-90C7-4A0E926EA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7933" y="5415923"/>
              <a:ext cx="17463" cy="9525"/>
            </a:xfrm>
            <a:custGeom>
              <a:avLst/>
              <a:gdLst>
                <a:gd name="T0" fmla="*/ 0 w 11"/>
                <a:gd name="T1" fmla="*/ 6 h 6"/>
                <a:gd name="T2" fmla="*/ 5 w 11"/>
                <a:gd name="T3" fmla="*/ 5 h 6"/>
                <a:gd name="T4" fmla="*/ 11 w 11"/>
                <a:gd name="T5" fmla="*/ 2 h 6"/>
                <a:gd name="T6" fmla="*/ 8 w 11"/>
                <a:gd name="T7" fmla="*/ 1 h 6"/>
                <a:gd name="T8" fmla="*/ 4 w 11"/>
                <a:gd name="T9" fmla="*/ 0 h 6"/>
                <a:gd name="T10" fmla="*/ 0 w 11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0" y="6"/>
                  </a:moveTo>
                  <a:lnTo>
                    <a:pt x="5" y="5"/>
                  </a:lnTo>
                  <a:lnTo>
                    <a:pt x="11" y="2"/>
                  </a:lnTo>
                  <a:lnTo>
                    <a:pt x="8" y="1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60">
              <a:extLst>
                <a:ext uri="{FF2B5EF4-FFF2-40B4-BE49-F238E27FC236}">
                  <a16:creationId xmlns:a16="http://schemas.microsoft.com/office/drawing/2014/main" id="{FE200AEE-D4A1-4E21-8F5C-297A49BDB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7945" y="4187198"/>
              <a:ext cx="44450" cy="34925"/>
            </a:xfrm>
            <a:custGeom>
              <a:avLst/>
              <a:gdLst>
                <a:gd name="T0" fmla="*/ 22 w 24"/>
                <a:gd name="T1" fmla="*/ 11 h 19"/>
                <a:gd name="T2" fmla="*/ 24 w 24"/>
                <a:gd name="T3" fmla="*/ 8 h 19"/>
                <a:gd name="T4" fmla="*/ 24 w 24"/>
                <a:gd name="T5" fmla="*/ 4 h 19"/>
                <a:gd name="T6" fmla="*/ 21 w 24"/>
                <a:gd name="T7" fmla="*/ 0 h 19"/>
                <a:gd name="T8" fmla="*/ 16 w 24"/>
                <a:gd name="T9" fmla="*/ 0 h 19"/>
                <a:gd name="T10" fmla="*/ 8 w 24"/>
                <a:gd name="T11" fmla="*/ 4 h 19"/>
                <a:gd name="T12" fmla="*/ 0 w 24"/>
                <a:gd name="T13" fmla="*/ 7 h 19"/>
                <a:gd name="T14" fmla="*/ 5 w 24"/>
                <a:gd name="T15" fmla="*/ 19 h 19"/>
                <a:gd name="T16" fmla="*/ 13 w 24"/>
                <a:gd name="T17" fmla="*/ 16 h 19"/>
                <a:gd name="T18" fmla="*/ 22 w 24"/>
                <a:gd name="T1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9">
                  <a:moveTo>
                    <a:pt x="22" y="11"/>
                  </a:moveTo>
                  <a:cubicBezTo>
                    <a:pt x="23" y="10"/>
                    <a:pt x="24" y="9"/>
                    <a:pt x="24" y="8"/>
                  </a:cubicBezTo>
                  <a:cubicBezTo>
                    <a:pt x="24" y="6"/>
                    <a:pt x="24" y="5"/>
                    <a:pt x="24" y="4"/>
                  </a:cubicBezTo>
                  <a:cubicBezTo>
                    <a:pt x="23" y="2"/>
                    <a:pt x="22" y="1"/>
                    <a:pt x="21" y="0"/>
                  </a:cubicBezTo>
                  <a:cubicBezTo>
                    <a:pt x="19" y="0"/>
                    <a:pt x="18" y="0"/>
                    <a:pt x="16" y="0"/>
                  </a:cubicBezTo>
                  <a:cubicBezTo>
                    <a:pt x="15" y="1"/>
                    <a:pt x="12" y="2"/>
                    <a:pt x="8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8" y="13"/>
                    <a:pt x="21" y="12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61">
              <a:extLst>
                <a:ext uri="{FF2B5EF4-FFF2-40B4-BE49-F238E27FC236}">
                  <a16:creationId xmlns:a16="http://schemas.microsoft.com/office/drawing/2014/main" id="{86159E54-4EC5-4D56-BDA2-17DF7A37A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7108" y="4461836"/>
              <a:ext cx="36513" cy="46038"/>
            </a:xfrm>
            <a:custGeom>
              <a:avLst/>
              <a:gdLst>
                <a:gd name="T0" fmla="*/ 10 w 20"/>
                <a:gd name="T1" fmla="*/ 23 h 25"/>
                <a:gd name="T2" fmla="*/ 13 w 20"/>
                <a:gd name="T3" fmla="*/ 25 h 25"/>
                <a:gd name="T4" fmla="*/ 17 w 20"/>
                <a:gd name="T5" fmla="*/ 24 h 25"/>
                <a:gd name="T6" fmla="*/ 20 w 20"/>
                <a:gd name="T7" fmla="*/ 20 h 25"/>
                <a:gd name="T8" fmla="*/ 20 w 20"/>
                <a:gd name="T9" fmla="*/ 15 h 25"/>
                <a:gd name="T10" fmla="*/ 15 w 20"/>
                <a:gd name="T11" fmla="*/ 8 h 25"/>
                <a:gd name="T12" fmla="*/ 11 w 20"/>
                <a:gd name="T13" fmla="*/ 0 h 25"/>
                <a:gd name="T14" fmla="*/ 0 w 20"/>
                <a:gd name="T15" fmla="*/ 7 h 25"/>
                <a:gd name="T16" fmla="*/ 4 w 20"/>
                <a:gd name="T17" fmla="*/ 14 h 25"/>
                <a:gd name="T18" fmla="*/ 10 w 20"/>
                <a:gd name="T19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5">
                  <a:moveTo>
                    <a:pt x="10" y="23"/>
                  </a:moveTo>
                  <a:cubicBezTo>
                    <a:pt x="11" y="24"/>
                    <a:pt x="12" y="24"/>
                    <a:pt x="13" y="25"/>
                  </a:cubicBezTo>
                  <a:cubicBezTo>
                    <a:pt x="15" y="25"/>
                    <a:pt x="16" y="24"/>
                    <a:pt x="17" y="24"/>
                  </a:cubicBezTo>
                  <a:cubicBezTo>
                    <a:pt x="19" y="23"/>
                    <a:pt x="20" y="21"/>
                    <a:pt x="20" y="20"/>
                  </a:cubicBezTo>
                  <a:cubicBezTo>
                    <a:pt x="20" y="19"/>
                    <a:pt x="20" y="17"/>
                    <a:pt x="20" y="15"/>
                  </a:cubicBezTo>
                  <a:cubicBezTo>
                    <a:pt x="19" y="14"/>
                    <a:pt x="18" y="12"/>
                    <a:pt x="15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7" y="19"/>
                    <a:pt x="9" y="22"/>
                    <a:pt x="1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62">
              <a:extLst>
                <a:ext uri="{FF2B5EF4-FFF2-40B4-BE49-F238E27FC236}">
                  <a16:creationId xmlns:a16="http://schemas.microsoft.com/office/drawing/2014/main" id="{0A8A6A06-FBF4-4AFC-BBBA-4E22E9C8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358" y="4642811"/>
              <a:ext cx="39688" cy="28575"/>
            </a:xfrm>
            <a:custGeom>
              <a:avLst/>
              <a:gdLst>
                <a:gd name="T0" fmla="*/ 25 w 25"/>
                <a:gd name="T1" fmla="*/ 0 h 18"/>
                <a:gd name="T2" fmla="*/ 0 w 25"/>
                <a:gd name="T3" fmla="*/ 3 h 18"/>
                <a:gd name="T4" fmla="*/ 19 w 25"/>
                <a:gd name="T5" fmla="*/ 18 h 18"/>
                <a:gd name="T6" fmla="*/ 25 w 2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8">
                  <a:moveTo>
                    <a:pt x="25" y="0"/>
                  </a:moveTo>
                  <a:lnTo>
                    <a:pt x="0" y="3"/>
                  </a:lnTo>
                  <a:lnTo>
                    <a:pt x="19" y="1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63">
              <a:extLst>
                <a:ext uri="{FF2B5EF4-FFF2-40B4-BE49-F238E27FC236}">
                  <a16:creationId xmlns:a16="http://schemas.microsoft.com/office/drawing/2014/main" id="{05BECB14-101A-40C8-91C0-90AB5D053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4820" y="5565148"/>
              <a:ext cx="38100" cy="61913"/>
            </a:xfrm>
            <a:custGeom>
              <a:avLst/>
              <a:gdLst>
                <a:gd name="T0" fmla="*/ 7 w 21"/>
                <a:gd name="T1" fmla="*/ 10 h 33"/>
                <a:gd name="T2" fmla="*/ 4 w 21"/>
                <a:gd name="T3" fmla="*/ 12 h 33"/>
                <a:gd name="T4" fmla="*/ 2 w 21"/>
                <a:gd name="T5" fmla="*/ 15 h 33"/>
                <a:gd name="T6" fmla="*/ 1 w 21"/>
                <a:gd name="T7" fmla="*/ 19 h 33"/>
                <a:gd name="T8" fmla="*/ 0 w 21"/>
                <a:gd name="T9" fmla="*/ 23 h 33"/>
                <a:gd name="T10" fmla="*/ 2 w 21"/>
                <a:gd name="T11" fmla="*/ 26 h 33"/>
                <a:gd name="T12" fmla="*/ 9 w 21"/>
                <a:gd name="T13" fmla="*/ 32 h 33"/>
                <a:gd name="T14" fmla="*/ 12 w 21"/>
                <a:gd name="T15" fmla="*/ 33 h 33"/>
                <a:gd name="T16" fmla="*/ 15 w 21"/>
                <a:gd name="T17" fmla="*/ 33 h 33"/>
                <a:gd name="T18" fmla="*/ 19 w 21"/>
                <a:gd name="T19" fmla="*/ 29 h 33"/>
                <a:gd name="T20" fmla="*/ 20 w 21"/>
                <a:gd name="T21" fmla="*/ 26 h 33"/>
                <a:gd name="T22" fmla="*/ 21 w 21"/>
                <a:gd name="T23" fmla="*/ 24 h 33"/>
                <a:gd name="T24" fmla="*/ 20 w 21"/>
                <a:gd name="T25" fmla="*/ 20 h 33"/>
                <a:gd name="T26" fmla="*/ 14 w 21"/>
                <a:gd name="T27" fmla="*/ 16 h 33"/>
                <a:gd name="T28" fmla="*/ 14 w 21"/>
                <a:gd name="T29" fmla="*/ 11 h 33"/>
                <a:gd name="T30" fmla="*/ 17 w 21"/>
                <a:gd name="T31" fmla="*/ 11 h 33"/>
                <a:gd name="T32" fmla="*/ 18 w 21"/>
                <a:gd name="T33" fmla="*/ 8 h 33"/>
                <a:gd name="T34" fmla="*/ 18 w 21"/>
                <a:gd name="T35" fmla="*/ 5 h 33"/>
                <a:gd name="T36" fmla="*/ 18 w 21"/>
                <a:gd name="T37" fmla="*/ 2 h 33"/>
                <a:gd name="T38" fmla="*/ 15 w 21"/>
                <a:gd name="T39" fmla="*/ 2 h 33"/>
                <a:gd name="T40" fmla="*/ 10 w 21"/>
                <a:gd name="T41" fmla="*/ 8 h 33"/>
                <a:gd name="T42" fmla="*/ 9 w 21"/>
                <a:gd name="T43" fmla="*/ 9 h 33"/>
                <a:gd name="T44" fmla="*/ 7 w 21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33">
                  <a:moveTo>
                    <a:pt x="7" y="10"/>
                  </a:moveTo>
                  <a:cubicBezTo>
                    <a:pt x="5" y="10"/>
                    <a:pt x="4" y="12"/>
                    <a:pt x="4" y="12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6"/>
                    <a:pt x="1" y="19"/>
                    <a:pt x="1" y="19"/>
                  </a:cubicBezTo>
                  <a:cubicBezTo>
                    <a:pt x="0" y="20"/>
                    <a:pt x="0" y="23"/>
                    <a:pt x="0" y="23"/>
                  </a:cubicBezTo>
                  <a:cubicBezTo>
                    <a:pt x="0" y="24"/>
                    <a:pt x="2" y="26"/>
                    <a:pt x="2" y="26"/>
                  </a:cubicBezTo>
                  <a:cubicBezTo>
                    <a:pt x="3" y="29"/>
                    <a:pt x="9" y="32"/>
                    <a:pt x="9" y="32"/>
                  </a:cubicBezTo>
                  <a:cubicBezTo>
                    <a:pt x="10" y="33"/>
                    <a:pt x="11" y="33"/>
                    <a:pt x="12" y="33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9" y="33"/>
                    <a:pt x="19" y="29"/>
                    <a:pt x="19" y="29"/>
                  </a:cubicBezTo>
                  <a:cubicBezTo>
                    <a:pt x="18" y="28"/>
                    <a:pt x="20" y="26"/>
                    <a:pt x="20" y="26"/>
                  </a:cubicBezTo>
                  <a:cubicBezTo>
                    <a:pt x="21" y="25"/>
                    <a:pt x="21" y="24"/>
                    <a:pt x="21" y="24"/>
                  </a:cubicBezTo>
                  <a:cubicBezTo>
                    <a:pt x="20" y="23"/>
                    <a:pt x="20" y="20"/>
                    <a:pt x="20" y="20"/>
                  </a:cubicBezTo>
                  <a:cubicBezTo>
                    <a:pt x="18" y="19"/>
                    <a:pt x="14" y="16"/>
                    <a:pt x="14" y="16"/>
                  </a:cubicBezTo>
                  <a:cubicBezTo>
                    <a:pt x="11" y="12"/>
                    <a:pt x="14" y="11"/>
                    <a:pt x="14" y="11"/>
                  </a:cubicBezTo>
                  <a:cubicBezTo>
                    <a:pt x="16" y="12"/>
                    <a:pt x="17" y="11"/>
                    <a:pt x="17" y="11"/>
                  </a:cubicBezTo>
                  <a:cubicBezTo>
                    <a:pt x="19" y="11"/>
                    <a:pt x="18" y="8"/>
                    <a:pt x="18" y="8"/>
                  </a:cubicBezTo>
                  <a:cubicBezTo>
                    <a:pt x="18" y="6"/>
                    <a:pt x="18" y="5"/>
                    <a:pt x="18" y="5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6" y="0"/>
                    <a:pt x="15" y="2"/>
                    <a:pt x="15" y="2"/>
                  </a:cubicBezTo>
                  <a:cubicBezTo>
                    <a:pt x="14" y="4"/>
                    <a:pt x="10" y="8"/>
                    <a:pt x="10" y="8"/>
                  </a:cubicBezTo>
                  <a:cubicBezTo>
                    <a:pt x="9" y="8"/>
                    <a:pt x="9" y="9"/>
                    <a:pt x="9" y="9"/>
                  </a:cubicBezTo>
                  <a:cubicBezTo>
                    <a:pt x="8" y="10"/>
                    <a:pt x="7" y="10"/>
                    <a:pt x="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64">
              <a:extLst>
                <a:ext uri="{FF2B5EF4-FFF2-40B4-BE49-F238E27FC236}">
                  <a16:creationId xmlns:a16="http://schemas.microsoft.com/office/drawing/2014/main" id="{C8E54980-2AFF-481A-9172-813B1144D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7633" y="5504823"/>
              <a:ext cx="7938" cy="20638"/>
            </a:xfrm>
            <a:custGeom>
              <a:avLst/>
              <a:gdLst>
                <a:gd name="T0" fmla="*/ 0 w 4"/>
                <a:gd name="T1" fmla="*/ 0 h 11"/>
                <a:gd name="T2" fmla="*/ 2 w 4"/>
                <a:gd name="T3" fmla="*/ 5 h 11"/>
                <a:gd name="T4" fmla="*/ 2 w 4"/>
                <a:gd name="T5" fmla="*/ 7 h 11"/>
                <a:gd name="T6" fmla="*/ 3 w 4"/>
                <a:gd name="T7" fmla="*/ 10 h 11"/>
                <a:gd name="T8" fmla="*/ 4 w 4"/>
                <a:gd name="T9" fmla="*/ 9 h 11"/>
                <a:gd name="T10" fmla="*/ 3 w 4"/>
                <a:gd name="T11" fmla="*/ 3 h 11"/>
                <a:gd name="T12" fmla="*/ 3 w 4"/>
                <a:gd name="T13" fmla="*/ 0 h 11"/>
                <a:gd name="T14" fmla="*/ 0 w 4"/>
                <a:gd name="T1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11">
                  <a:moveTo>
                    <a:pt x="0" y="0"/>
                  </a:moveTo>
                  <a:cubicBezTo>
                    <a:pt x="1" y="3"/>
                    <a:pt x="2" y="4"/>
                    <a:pt x="2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4" y="9"/>
                    <a:pt x="3" y="8"/>
                    <a:pt x="3" y="10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8"/>
                    <a:pt x="4" y="5"/>
                    <a:pt x="3" y="3"/>
                  </a:cubicBezTo>
                  <a:cubicBezTo>
                    <a:pt x="3" y="2"/>
                    <a:pt x="3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65">
              <a:extLst>
                <a:ext uri="{FF2B5EF4-FFF2-40B4-BE49-F238E27FC236}">
                  <a16:creationId xmlns:a16="http://schemas.microsoft.com/office/drawing/2014/main" id="{70EA85F6-4343-4B69-A812-A3891ADC6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4295" y="5517523"/>
              <a:ext cx="33338" cy="12700"/>
            </a:xfrm>
            <a:custGeom>
              <a:avLst/>
              <a:gdLst>
                <a:gd name="T0" fmla="*/ 0 w 18"/>
                <a:gd name="T1" fmla="*/ 7 h 7"/>
                <a:gd name="T2" fmla="*/ 5 w 18"/>
                <a:gd name="T3" fmla="*/ 6 h 7"/>
                <a:gd name="T4" fmla="*/ 17 w 18"/>
                <a:gd name="T5" fmla="*/ 3 h 7"/>
                <a:gd name="T6" fmla="*/ 18 w 18"/>
                <a:gd name="T7" fmla="*/ 2 h 7"/>
                <a:gd name="T8" fmla="*/ 18 w 18"/>
                <a:gd name="T9" fmla="*/ 2 h 7"/>
                <a:gd name="T10" fmla="*/ 17 w 18"/>
                <a:gd name="T11" fmla="*/ 0 h 7"/>
                <a:gd name="T12" fmla="*/ 0 w 1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7">
                  <a:moveTo>
                    <a:pt x="0" y="7"/>
                  </a:moveTo>
                  <a:cubicBezTo>
                    <a:pt x="1" y="7"/>
                    <a:pt x="3" y="6"/>
                    <a:pt x="5" y="6"/>
                  </a:cubicBezTo>
                  <a:cubicBezTo>
                    <a:pt x="9" y="6"/>
                    <a:pt x="15" y="5"/>
                    <a:pt x="17" y="3"/>
                  </a:cubicBezTo>
                  <a:cubicBezTo>
                    <a:pt x="18" y="3"/>
                    <a:pt x="18" y="3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0"/>
                  </a:cubicBezTo>
                  <a:cubicBezTo>
                    <a:pt x="12" y="4"/>
                    <a:pt x="3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66">
              <a:extLst>
                <a:ext uri="{FF2B5EF4-FFF2-40B4-BE49-F238E27FC236}">
                  <a16:creationId xmlns:a16="http://schemas.microsoft.com/office/drawing/2014/main" id="{DD769AD1-4A03-4B7F-9DE7-52A5BE103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9433" y="4149098"/>
              <a:ext cx="63500" cy="68263"/>
            </a:xfrm>
            <a:custGeom>
              <a:avLst/>
              <a:gdLst>
                <a:gd name="T0" fmla="*/ 12 w 34"/>
                <a:gd name="T1" fmla="*/ 36 h 37"/>
                <a:gd name="T2" fmla="*/ 24 w 34"/>
                <a:gd name="T3" fmla="*/ 35 h 37"/>
                <a:gd name="T4" fmla="*/ 32 w 34"/>
                <a:gd name="T5" fmla="*/ 23 h 37"/>
                <a:gd name="T6" fmla="*/ 32 w 34"/>
                <a:gd name="T7" fmla="*/ 9 h 37"/>
                <a:gd name="T8" fmla="*/ 22 w 34"/>
                <a:gd name="T9" fmla="*/ 2 h 37"/>
                <a:gd name="T10" fmla="*/ 10 w 34"/>
                <a:gd name="T11" fmla="*/ 3 h 37"/>
                <a:gd name="T12" fmla="*/ 2 w 34"/>
                <a:gd name="T13" fmla="*/ 15 h 37"/>
                <a:gd name="T14" fmla="*/ 3 w 34"/>
                <a:gd name="T15" fmla="*/ 29 h 37"/>
                <a:gd name="T16" fmla="*/ 12 w 34"/>
                <a:gd name="T17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7">
                  <a:moveTo>
                    <a:pt x="12" y="36"/>
                  </a:moveTo>
                  <a:cubicBezTo>
                    <a:pt x="17" y="37"/>
                    <a:pt x="21" y="37"/>
                    <a:pt x="24" y="35"/>
                  </a:cubicBezTo>
                  <a:cubicBezTo>
                    <a:pt x="28" y="33"/>
                    <a:pt x="31" y="29"/>
                    <a:pt x="32" y="23"/>
                  </a:cubicBezTo>
                  <a:cubicBezTo>
                    <a:pt x="34" y="17"/>
                    <a:pt x="34" y="12"/>
                    <a:pt x="32" y="9"/>
                  </a:cubicBezTo>
                  <a:cubicBezTo>
                    <a:pt x="30" y="5"/>
                    <a:pt x="26" y="3"/>
                    <a:pt x="22" y="2"/>
                  </a:cubicBezTo>
                  <a:cubicBezTo>
                    <a:pt x="17" y="0"/>
                    <a:pt x="13" y="1"/>
                    <a:pt x="10" y="3"/>
                  </a:cubicBezTo>
                  <a:cubicBezTo>
                    <a:pt x="6" y="5"/>
                    <a:pt x="3" y="9"/>
                    <a:pt x="2" y="15"/>
                  </a:cubicBezTo>
                  <a:cubicBezTo>
                    <a:pt x="0" y="20"/>
                    <a:pt x="1" y="25"/>
                    <a:pt x="3" y="29"/>
                  </a:cubicBezTo>
                  <a:cubicBezTo>
                    <a:pt x="5" y="33"/>
                    <a:pt x="8" y="35"/>
                    <a:pt x="1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67">
              <a:extLst>
                <a:ext uri="{FF2B5EF4-FFF2-40B4-BE49-F238E27FC236}">
                  <a16:creationId xmlns:a16="http://schemas.microsoft.com/office/drawing/2014/main" id="{73BA7010-9DCC-4238-AEE8-C7FC41AEDF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008" y="4030036"/>
              <a:ext cx="1677988" cy="1673225"/>
            </a:xfrm>
            <a:custGeom>
              <a:avLst/>
              <a:gdLst>
                <a:gd name="T0" fmla="*/ 812 w 905"/>
                <a:gd name="T1" fmla="*/ 404 h 905"/>
                <a:gd name="T2" fmla="*/ 774 w 905"/>
                <a:gd name="T3" fmla="*/ 279 h 905"/>
                <a:gd name="T4" fmla="*/ 779 w 905"/>
                <a:gd name="T5" fmla="*/ 210 h 905"/>
                <a:gd name="T6" fmla="*/ 721 w 905"/>
                <a:gd name="T7" fmla="*/ 187 h 905"/>
                <a:gd name="T8" fmla="*/ 685 w 905"/>
                <a:gd name="T9" fmla="*/ 149 h 905"/>
                <a:gd name="T10" fmla="*/ 617 w 905"/>
                <a:gd name="T11" fmla="*/ 113 h 905"/>
                <a:gd name="T12" fmla="*/ 564 w 905"/>
                <a:gd name="T13" fmla="*/ 108 h 905"/>
                <a:gd name="T14" fmla="*/ 460 w 905"/>
                <a:gd name="T15" fmla="*/ 45 h 905"/>
                <a:gd name="T16" fmla="*/ 375 w 905"/>
                <a:gd name="T17" fmla="*/ 52 h 905"/>
                <a:gd name="T18" fmla="*/ 348 w 905"/>
                <a:gd name="T19" fmla="*/ 78 h 905"/>
                <a:gd name="T20" fmla="*/ 362 w 905"/>
                <a:gd name="T21" fmla="*/ 92 h 905"/>
                <a:gd name="T22" fmla="*/ 312 w 905"/>
                <a:gd name="T23" fmla="*/ 104 h 905"/>
                <a:gd name="T24" fmla="*/ 250 w 905"/>
                <a:gd name="T25" fmla="*/ 96 h 905"/>
                <a:gd name="T26" fmla="*/ 175 w 905"/>
                <a:gd name="T27" fmla="*/ 151 h 905"/>
                <a:gd name="T28" fmla="*/ 121 w 905"/>
                <a:gd name="T29" fmla="*/ 211 h 905"/>
                <a:gd name="T30" fmla="*/ 120 w 905"/>
                <a:gd name="T31" fmla="*/ 281 h 905"/>
                <a:gd name="T32" fmla="*/ 132 w 905"/>
                <a:gd name="T33" fmla="*/ 289 h 905"/>
                <a:gd name="T34" fmla="*/ 95 w 905"/>
                <a:gd name="T35" fmla="*/ 410 h 905"/>
                <a:gd name="T36" fmla="*/ 41 w 905"/>
                <a:gd name="T37" fmla="*/ 453 h 905"/>
                <a:gd name="T38" fmla="*/ 51 w 905"/>
                <a:gd name="T39" fmla="*/ 518 h 905"/>
                <a:gd name="T40" fmla="*/ 101 w 905"/>
                <a:gd name="T41" fmla="*/ 526 h 905"/>
                <a:gd name="T42" fmla="*/ 238 w 905"/>
                <a:gd name="T43" fmla="*/ 764 h 905"/>
                <a:gd name="T44" fmla="*/ 218 w 905"/>
                <a:gd name="T45" fmla="*/ 741 h 905"/>
                <a:gd name="T46" fmla="*/ 196 w 905"/>
                <a:gd name="T47" fmla="*/ 742 h 905"/>
                <a:gd name="T48" fmla="*/ 289 w 905"/>
                <a:gd name="T49" fmla="*/ 829 h 905"/>
                <a:gd name="T50" fmla="*/ 284 w 905"/>
                <a:gd name="T51" fmla="*/ 801 h 905"/>
                <a:gd name="T52" fmla="*/ 309 w 905"/>
                <a:gd name="T53" fmla="*/ 811 h 905"/>
                <a:gd name="T54" fmla="*/ 317 w 905"/>
                <a:gd name="T55" fmla="*/ 787 h 905"/>
                <a:gd name="T56" fmla="*/ 310 w 905"/>
                <a:gd name="T57" fmla="*/ 842 h 905"/>
                <a:gd name="T58" fmla="*/ 352 w 905"/>
                <a:gd name="T59" fmla="*/ 858 h 905"/>
                <a:gd name="T60" fmla="*/ 420 w 905"/>
                <a:gd name="T61" fmla="*/ 807 h 905"/>
                <a:gd name="T62" fmla="*/ 413 w 905"/>
                <a:gd name="T63" fmla="*/ 875 h 905"/>
                <a:gd name="T64" fmla="*/ 399 w 905"/>
                <a:gd name="T65" fmla="*/ 866 h 905"/>
                <a:gd name="T66" fmla="*/ 430 w 905"/>
                <a:gd name="T67" fmla="*/ 858 h 905"/>
                <a:gd name="T68" fmla="*/ 479 w 905"/>
                <a:gd name="T69" fmla="*/ 856 h 905"/>
                <a:gd name="T70" fmla="*/ 477 w 905"/>
                <a:gd name="T71" fmla="*/ 831 h 905"/>
                <a:gd name="T72" fmla="*/ 529 w 905"/>
                <a:gd name="T73" fmla="*/ 866 h 905"/>
                <a:gd name="T74" fmla="*/ 486 w 905"/>
                <a:gd name="T75" fmla="*/ 850 h 905"/>
                <a:gd name="T76" fmla="*/ 516 w 905"/>
                <a:gd name="T77" fmla="*/ 820 h 905"/>
                <a:gd name="T78" fmla="*/ 599 w 905"/>
                <a:gd name="T79" fmla="*/ 840 h 905"/>
                <a:gd name="T80" fmla="*/ 588 w 905"/>
                <a:gd name="T81" fmla="*/ 834 h 905"/>
                <a:gd name="T82" fmla="*/ 584 w 905"/>
                <a:gd name="T83" fmla="*/ 805 h 905"/>
                <a:gd name="T84" fmla="*/ 599 w 905"/>
                <a:gd name="T85" fmla="*/ 796 h 905"/>
                <a:gd name="T86" fmla="*/ 616 w 905"/>
                <a:gd name="T87" fmla="*/ 825 h 905"/>
                <a:gd name="T88" fmla="*/ 655 w 905"/>
                <a:gd name="T89" fmla="*/ 793 h 905"/>
                <a:gd name="T90" fmla="*/ 654 w 905"/>
                <a:gd name="T91" fmla="*/ 760 h 905"/>
                <a:gd name="T92" fmla="*/ 663 w 905"/>
                <a:gd name="T93" fmla="*/ 752 h 905"/>
                <a:gd name="T94" fmla="*/ 668 w 905"/>
                <a:gd name="T95" fmla="*/ 737 h 905"/>
                <a:gd name="T96" fmla="*/ 676 w 905"/>
                <a:gd name="T97" fmla="*/ 737 h 905"/>
                <a:gd name="T98" fmla="*/ 677 w 905"/>
                <a:gd name="T99" fmla="*/ 721 h 905"/>
                <a:gd name="T100" fmla="*/ 691 w 905"/>
                <a:gd name="T101" fmla="*/ 738 h 905"/>
                <a:gd name="T102" fmla="*/ 665 w 905"/>
                <a:gd name="T103" fmla="*/ 771 h 905"/>
                <a:gd name="T104" fmla="*/ 688 w 905"/>
                <a:gd name="T105" fmla="*/ 807 h 905"/>
                <a:gd name="T106" fmla="*/ 679 w 905"/>
                <a:gd name="T107" fmla="*/ 769 h 905"/>
                <a:gd name="T108" fmla="*/ 705 w 905"/>
                <a:gd name="T109" fmla="*/ 766 h 905"/>
                <a:gd name="T110" fmla="*/ 778 w 905"/>
                <a:gd name="T111" fmla="*/ 296 h 905"/>
                <a:gd name="T112" fmla="*/ 810 w 905"/>
                <a:gd name="T113" fmla="*/ 386 h 905"/>
                <a:gd name="T114" fmla="*/ 843 w 905"/>
                <a:gd name="T115" fmla="*/ 516 h 905"/>
                <a:gd name="T116" fmla="*/ 807 w 905"/>
                <a:gd name="T117" fmla="*/ 47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5" h="905">
                  <a:moveTo>
                    <a:pt x="453" y="0"/>
                  </a:moveTo>
                  <a:cubicBezTo>
                    <a:pt x="203" y="0"/>
                    <a:pt x="0" y="203"/>
                    <a:pt x="0" y="453"/>
                  </a:cubicBezTo>
                  <a:cubicBezTo>
                    <a:pt x="0" y="702"/>
                    <a:pt x="203" y="905"/>
                    <a:pt x="453" y="905"/>
                  </a:cubicBezTo>
                  <a:cubicBezTo>
                    <a:pt x="703" y="905"/>
                    <a:pt x="905" y="702"/>
                    <a:pt x="905" y="453"/>
                  </a:cubicBezTo>
                  <a:cubicBezTo>
                    <a:pt x="905" y="203"/>
                    <a:pt x="703" y="0"/>
                    <a:pt x="453" y="0"/>
                  </a:cubicBezTo>
                  <a:close/>
                  <a:moveTo>
                    <a:pt x="858" y="430"/>
                  </a:moveTo>
                  <a:cubicBezTo>
                    <a:pt x="849" y="431"/>
                    <a:pt x="849" y="431"/>
                    <a:pt x="849" y="431"/>
                  </a:cubicBezTo>
                  <a:cubicBezTo>
                    <a:pt x="846" y="400"/>
                    <a:pt x="846" y="400"/>
                    <a:pt x="846" y="400"/>
                  </a:cubicBezTo>
                  <a:cubicBezTo>
                    <a:pt x="835" y="401"/>
                    <a:pt x="835" y="401"/>
                    <a:pt x="835" y="401"/>
                  </a:cubicBezTo>
                  <a:cubicBezTo>
                    <a:pt x="838" y="430"/>
                    <a:pt x="838" y="430"/>
                    <a:pt x="838" y="430"/>
                  </a:cubicBezTo>
                  <a:cubicBezTo>
                    <a:pt x="829" y="431"/>
                    <a:pt x="829" y="431"/>
                    <a:pt x="829" y="431"/>
                  </a:cubicBezTo>
                  <a:cubicBezTo>
                    <a:pt x="826" y="402"/>
                    <a:pt x="826" y="402"/>
                    <a:pt x="826" y="402"/>
                  </a:cubicBezTo>
                  <a:cubicBezTo>
                    <a:pt x="812" y="404"/>
                    <a:pt x="812" y="404"/>
                    <a:pt x="812" y="404"/>
                  </a:cubicBezTo>
                  <a:cubicBezTo>
                    <a:pt x="816" y="435"/>
                    <a:pt x="816" y="435"/>
                    <a:pt x="816" y="435"/>
                  </a:cubicBezTo>
                  <a:cubicBezTo>
                    <a:pt x="807" y="436"/>
                    <a:pt x="807" y="436"/>
                    <a:pt x="807" y="436"/>
                  </a:cubicBezTo>
                  <a:cubicBezTo>
                    <a:pt x="802" y="393"/>
                    <a:pt x="802" y="393"/>
                    <a:pt x="802" y="393"/>
                  </a:cubicBezTo>
                  <a:cubicBezTo>
                    <a:pt x="854" y="388"/>
                    <a:pt x="854" y="388"/>
                    <a:pt x="854" y="388"/>
                  </a:cubicBezTo>
                  <a:lnTo>
                    <a:pt x="858" y="430"/>
                  </a:lnTo>
                  <a:close/>
                  <a:moveTo>
                    <a:pt x="799" y="241"/>
                  </a:moveTo>
                  <a:cubicBezTo>
                    <a:pt x="802" y="246"/>
                    <a:pt x="804" y="250"/>
                    <a:pt x="804" y="253"/>
                  </a:cubicBezTo>
                  <a:cubicBezTo>
                    <a:pt x="805" y="256"/>
                    <a:pt x="805" y="258"/>
                    <a:pt x="804" y="261"/>
                  </a:cubicBezTo>
                  <a:cubicBezTo>
                    <a:pt x="803" y="264"/>
                    <a:pt x="801" y="266"/>
                    <a:pt x="798" y="267"/>
                  </a:cubicBezTo>
                  <a:cubicBezTo>
                    <a:pt x="795" y="269"/>
                    <a:pt x="791" y="270"/>
                    <a:pt x="788" y="269"/>
                  </a:cubicBezTo>
                  <a:cubicBezTo>
                    <a:pt x="784" y="268"/>
                    <a:pt x="781" y="266"/>
                    <a:pt x="778" y="262"/>
                  </a:cubicBezTo>
                  <a:cubicBezTo>
                    <a:pt x="778" y="265"/>
                    <a:pt x="778" y="267"/>
                    <a:pt x="778" y="269"/>
                  </a:cubicBezTo>
                  <a:cubicBezTo>
                    <a:pt x="777" y="272"/>
                    <a:pt x="776" y="275"/>
                    <a:pt x="774" y="279"/>
                  </a:cubicBezTo>
                  <a:cubicBezTo>
                    <a:pt x="769" y="291"/>
                    <a:pt x="769" y="291"/>
                    <a:pt x="769" y="291"/>
                  </a:cubicBezTo>
                  <a:cubicBezTo>
                    <a:pt x="762" y="279"/>
                    <a:pt x="762" y="279"/>
                    <a:pt x="762" y="279"/>
                  </a:cubicBezTo>
                  <a:cubicBezTo>
                    <a:pt x="767" y="266"/>
                    <a:pt x="767" y="266"/>
                    <a:pt x="767" y="266"/>
                  </a:cubicBezTo>
                  <a:cubicBezTo>
                    <a:pt x="769" y="261"/>
                    <a:pt x="770" y="258"/>
                    <a:pt x="770" y="257"/>
                  </a:cubicBezTo>
                  <a:cubicBezTo>
                    <a:pt x="771" y="255"/>
                    <a:pt x="771" y="254"/>
                    <a:pt x="770" y="253"/>
                  </a:cubicBezTo>
                  <a:cubicBezTo>
                    <a:pt x="770" y="252"/>
                    <a:pt x="769" y="250"/>
                    <a:pt x="768" y="248"/>
                  </a:cubicBezTo>
                  <a:cubicBezTo>
                    <a:pt x="766" y="246"/>
                    <a:pt x="766" y="246"/>
                    <a:pt x="766" y="246"/>
                  </a:cubicBezTo>
                  <a:cubicBezTo>
                    <a:pt x="748" y="257"/>
                    <a:pt x="748" y="257"/>
                    <a:pt x="748" y="257"/>
                  </a:cubicBezTo>
                  <a:cubicBezTo>
                    <a:pt x="742" y="247"/>
                    <a:pt x="742" y="247"/>
                    <a:pt x="742" y="247"/>
                  </a:cubicBezTo>
                  <a:cubicBezTo>
                    <a:pt x="786" y="220"/>
                    <a:pt x="786" y="220"/>
                    <a:pt x="786" y="220"/>
                  </a:cubicBezTo>
                  <a:lnTo>
                    <a:pt x="799" y="241"/>
                  </a:lnTo>
                  <a:close/>
                  <a:moveTo>
                    <a:pt x="750" y="176"/>
                  </a:moveTo>
                  <a:cubicBezTo>
                    <a:pt x="779" y="210"/>
                    <a:pt x="779" y="210"/>
                    <a:pt x="779" y="210"/>
                  </a:cubicBezTo>
                  <a:cubicBezTo>
                    <a:pt x="772" y="216"/>
                    <a:pt x="772" y="216"/>
                    <a:pt x="772" y="216"/>
                  </a:cubicBezTo>
                  <a:cubicBezTo>
                    <a:pt x="761" y="203"/>
                    <a:pt x="761" y="203"/>
                    <a:pt x="761" y="203"/>
                  </a:cubicBezTo>
                  <a:cubicBezTo>
                    <a:pt x="728" y="230"/>
                    <a:pt x="728" y="230"/>
                    <a:pt x="728" y="230"/>
                  </a:cubicBezTo>
                  <a:cubicBezTo>
                    <a:pt x="721" y="221"/>
                    <a:pt x="721" y="221"/>
                    <a:pt x="721" y="221"/>
                  </a:cubicBezTo>
                  <a:cubicBezTo>
                    <a:pt x="754" y="194"/>
                    <a:pt x="754" y="194"/>
                    <a:pt x="754" y="194"/>
                  </a:cubicBezTo>
                  <a:cubicBezTo>
                    <a:pt x="744" y="181"/>
                    <a:pt x="744" y="181"/>
                    <a:pt x="744" y="181"/>
                  </a:cubicBezTo>
                  <a:lnTo>
                    <a:pt x="750" y="176"/>
                  </a:lnTo>
                  <a:close/>
                  <a:moveTo>
                    <a:pt x="742" y="167"/>
                  </a:moveTo>
                  <a:cubicBezTo>
                    <a:pt x="736" y="174"/>
                    <a:pt x="736" y="174"/>
                    <a:pt x="736" y="174"/>
                  </a:cubicBezTo>
                  <a:cubicBezTo>
                    <a:pt x="714" y="153"/>
                    <a:pt x="714" y="153"/>
                    <a:pt x="714" y="153"/>
                  </a:cubicBezTo>
                  <a:cubicBezTo>
                    <a:pt x="706" y="162"/>
                    <a:pt x="706" y="162"/>
                    <a:pt x="706" y="162"/>
                  </a:cubicBezTo>
                  <a:cubicBezTo>
                    <a:pt x="727" y="181"/>
                    <a:pt x="727" y="181"/>
                    <a:pt x="727" y="181"/>
                  </a:cubicBezTo>
                  <a:cubicBezTo>
                    <a:pt x="721" y="187"/>
                    <a:pt x="721" y="187"/>
                    <a:pt x="721" y="187"/>
                  </a:cubicBezTo>
                  <a:cubicBezTo>
                    <a:pt x="700" y="168"/>
                    <a:pt x="700" y="168"/>
                    <a:pt x="700" y="168"/>
                  </a:cubicBezTo>
                  <a:cubicBezTo>
                    <a:pt x="691" y="178"/>
                    <a:pt x="691" y="178"/>
                    <a:pt x="691" y="178"/>
                  </a:cubicBezTo>
                  <a:cubicBezTo>
                    <a:pt x="714" y="200"/>
                    <a:pt x="714" y="200"/>
                    <a:pt x="714" y="200"/>
                  </a:cubicBezTo>
                  <a:cubicBezTo>
                    <a:pt x="708" y="206"/>
                    <a:pt x="708" y="206"/>
                    <a:pt x="708" y="206"/>
                  </a:cubicBezTo>
                  <a:cubicBezTo>
                    <a:pt x="677" y="177"/>
                    <a:pt x="677" y="177"/>
                    <a:pt x="677" y="177"/>
                  </a:cubicBezTo>
                  <a:cubicBezTo>
                    <a:pt x="711" y="139"/>
                    <a:pt x="711" y="139"/>
                    <a:pt x="711" y="139"/>
                  </a:cubicBezTo>
                  <a:lnTo>
                    <a:pt x="742" y="167"/>
                  </a:lnTo>
                  <a:close/>
                  <a:moveTo>
                    <a:pt x="665" y="105"/>
                  </a:moveTo>
                  <a:cubicBezTo>
                    <a:pt x="680" y="116"/>
                    <a:pt x="680" y="116"/>
                    <a:pt x="680" y="116"/>
                  </a:cubicBezTo>
                  <a:cubicBezTo>
                    <a:pt x="686" y="120"/>
                    <a:pt x="689" y="122"/>
                    <a:pt x="691" y="124"/>
                  </a:cubicBezTo>
                  <a:cubicBezTo>
                    <a:pt x="693" y="127"/>
                    <a:pt x="694" y="130"/>
                    <a:pt x="695" y="133"/>
                  </a:cubicBezTo>
                  <a:cubicBezTo>
                    <a:pt x="695" y="136"/>
                    <a:pt x="694" y="140"/>
                    <a:pt x="692" y="143"/>
                  </a:cubicBezTo>
                  <a:cubicBezTo>
                    <a:pt x="690" y="146"/>
                    <a:pt x="688" y="148"/>
                    <a:pt x="685" y="149"/>
                  </a:cubicBezTo>
                  <a:cubicBezTo>
                    <a:pt x="683" y="150"/>
                    <a:pt x="681" y="150"/>
                    <a:pt x="679" y="150"/>
                  </a:cubicBezTo>
                  <a:cubicBezTo>
                    <a:pt x="676" y="150"/>
                    <a:pt x="674" y="149"/>
                    <a:pt x="672" y="149"/>
                  </a:cubicBezTo>
                  <a:cubicBezTo>
                    <a:pt x="670" y="148"/>
                    <a:pt x="666" y="145"/>
                    <a:pt x="662" y="143"/>
                  </a:cubicBezTo>
                  <a:cubicBezTo>
                    <a:pt x="656" y="138"/>
                    <a:pt x="656" y="138"/>
                    <a:pt x="656" y="138"/>
                  </a:cubicBezTo>
                  <a:cubicBezTo>
                    <a:pt x="645" y="154"/>
                    <a:pt x="645" y="154"/>
                    <a:pt x="645" y="154"/>
                  </a:cubicBezTo>
                  <a:cubicBezTo>
                    <a:pt x="635" y="148"/>
                    <a:pt x="635" y="148"/>
                    <a:pt x="635" y="148"/>
                  </a:cubicBezTo>
                  <a:lnTo>
                    <a:pt x="665" y="105"/>
                  </a:lnTo>
                  <a:close/>
                  <a:moveTo>
                    <a:pt x="632" y="87"/>
                  </a:moveTo>
                  <a:cubicBezTo>
                    <a:pt x="629" y="95"/>
                    <a:pt x="629" y="95"/>
                    <a:pt x="629" y="95"/>
                  </a:cubicBezTo>
                  <a:cubicBezTo>
                    <a:pt x="603" y="84"/>
                    <a:pt x="603" y="84"/>
                    <a:pt x="603" y="84"/>
                  </a:cubicBezTo>
                  <a:cubicBezTo>
                    <a:pt x="598" y="95"/>
                    <a:pt x="598" y="95"/>
                    <a:pt x="598" y="95"/>
                  </a:cubicBezTo>
                  <a:cubicBezTo>
                    <a:pt x="620" y="105"/>
                    <a:pt x="620" y="105"/>
                    <a:pt x="620" y="105"/>
                  </a:cubicBezTo>
                  <a:cubicBezTo>
                    <a:pt x="617" y="113"/>
                    <a:pt x="617" y="113"/>
                    <a:pt x="617" y="113"/>
                  </a:cubicBezTo>
                  <a:cubicBezTo>
                    <a:pt x="595" y="103"/>
                    <a:pt x="595" y="103"/>
                    <a:pt x="595" y="103"/>
                  </a:cubicBezTo>
                  <a:cubicBezTo>
                    <a:pt x="586" y="123"/>
                    <a:pt x="586" y="123"/>
                    <a:pt x="586" y="123"/>
                  </a:cubicBezTo>
                  <a:cubicBezTo>
                    <a:pt x="576" y="119"/>
                    <a:pt x="576" y="119"/>
                    <a:pt x="576" y="119"/>
                  </a:cubicBezTo>
                  <a:cubicBezTo>
                    <a:pt x="596" y="71"/>
                    <a:pt x="596" y="71"/>
                    <a:pt x="596" y="71"/>
                  </a:cubicBezTo>
                  <a:lnTo>
                    <a:pt x="632" y="87"/>
                  </a:lnTo>
                  <a:close/>
                  <a:moveTo>
                    <a:pt x="523" y="77"/>
                  </a:moveTo>
                  <a:cubicBezTo>
                    <a:pt x="525" y="72"/>
                    <a:pt x="527" y="68"/>
                    <a:pt x="529" y="65"/>
                  </a:cubicBezTo>
                  <a:cubicBezTo>
                    <a:pt x="531" y="63"/>
                    <a:pt x="534" y="61"/>
                    <a:pt x="536" y="59"/>
                  </a:cubicBezTo>
                  <a:cubicBezTo>
                    <a:pt x="539" y="58"/>
                    <a:pt x="542" y="57"/>
                    <a:pt x="545" y="57"/>
                  </a:cubicBezTo>
                  <a:cubicBezTo>
                    <a:pt x="548" y="56"/>
                    <a:pt x="553" y="57"/>
                    <a:pt x="557" y="58"/>
                  </a:cubicBezTo>
                  <a:cubicBezTo>
                    <a:pt x="565" y="60"/>
                    <a:pt x="571" y="64"/>
                    <a:pt x="575" y="70"/>
                  </a:cubicBezTo>
                  <a:cubicBezTo>
                    <a:pt x="578" y="76"/>
                    <a:pt x="579" y="83"/>
                    <a:pt x="577" y="91"/>
                  </a:cubicBezTo>
                  <a:cubicBezTo>
                    <a:pt x="575" y="99"/>
                    <a:pt x="570" y="105"/>
                    <a:pt x="564" y="108"/>
                  </a:cubicBezTo>
                  <a:cubicBezTo>
                    <a:pt x="558" y="111"/>
                    <a:pt x="551" y="112"/>
                    <a:pt x="543" y="110"/>
                  </a:cubicBezTo>
                  <a:cubicBezTo>
                    <a:pt x="535" y="108"/>
                    <a:pt x="529" y="104"/>
                    <a:pt x="526" y="98"/>
                  </a:cubicBezTo>
                  <a:cubicBezTo>
                    <a:pt x="522" y="92"/>
                    <a:pt x="521" y="85"/>
                    <a:pt x="523" y="77"/>
                  </a:cubicBezTo>
                  <a:close/>
                  <a:moveTo>
                    <a:pt x="460" y="45"/>
                  </a:moveTo>
                  <a:cubicBezTo>
                    <a:pt x="473" y="66"/>
                    <a:pt x="473" y="66"/>
                    <a:pt x="473" y="6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500" y="47"/>
                    <a:pt x="500" y="47"/>
                    <a:pt x="500" y="47"/>
                  </a:cubicBezTo>
                  <a:cubicBezTo>
                    <a:pt x="477" y="76"/>
                    <a:pt x="477" y="76"/>
                    <a:pt x="477" y="76"/>
                  </a:cubicBezTo>
                  <a:cubicBezTo>
                    <a:pt x="476" y="97"/>
                    <a:pt x="476" y="97"/>
                    <a:pt x="476" y="97"/>
                  </a:cubicBezTo>
                  <a:cubicBezTo>
                    <a:pt x="465" y="97"/>
                    <a:pt x="465" y="97"/>
                    <a:pt x="465" y="97"/>
                  </a:cubicBezTo>
                  <a:cubicBezTo>
                    <a:pt x="466" y="75"/>
                    <a:pt x="466" y="75"/>
                    <a:pt x="466" y="75"/>
                  </a:cubicBezTo>
                  <a:cubicBezTo>
                    <a:pt x="447" y="44"/>
                    <a:pt x="447" y="44"/>
                    <a:pt x="447" y="44"/>
                  </a:cubicBezTo>
                  <a:lnTo>
                    <a:pt x="460" y="45"/>
                  </a:lnTo>
                  <a:close/>
                  <a:moveTo>
                    <a:pt x="441" y="44"/>
                  </a:moveTo>
                  <a:cubicBezTo>
                    <a:pt x="442" y="53"/>
                    <a:pt x="442" y="53"/>
                    <a:pt x="442" y="53"/>
                  </a:cubicBezTo>
                  <a:cubicBezTo>
                    <a:pt x="425" y="54"/>
                    <a:pt x="425" y="54"/>
                    <a:pt x="425" y="54"/>
                  </a:cubicBezTo>
                  <a:cubicBezTo>
                    <a:pt x="428" y="97"/>
                    <a:pt x="428" y="97"/>
                    <a:pt x="428" y="97"/>
                  </a:cubicBezTo>
                  <a:cubicBezTo>
                    <a:pt x="417" y="98"/>
                    <a:pt x="417" y="98"/>
                    <a:pt x="417" y="98"/>
                  </a:cubicBezTo>
                  <a:cubicBezTo>
                    <a:pt x="413" y="55"/>
                    <a:pt x="413" y="55"/>
                    <a:pt x="413" y="55"/>
                  </a:cubicBezTo>
                  <a:cubicBezTo>
                    <a:pt x="397" y="56"/>
                    <a:pt x="397" y="56"/>
                    <a:pt x="397" y="56"/>
                  </a:cubicBezTo>
                  <a:cubicBezTo>
                    <a:pt x="396" y="48"/>
                    <a:pt x="396" y="48"/>
                    <a:pt x="396" y="48"/>
                  </a:cubicBezTo>
                  <a:lnTo>
                    <a:pt x="441" y="44"/>
                  </a:lnTo>
                  <a:close/>
                  <a:moveTo>
                    <a:pt x="386" y="50"/>
                  </a:moveTo>
                  <a:cubicBezTo>
                    <a:pt x="395" y="101"/>
                    <a:pt x="395" y="101"/>
                    <a:pt x="395" y="101"/>
                  </a:cubicBezTo>
                  <a:cubicBezTo>
                    <a:pt x="384" y="103"/>
                    <a:pt x="384" y="103"/>
                    <a:pt x="384" y="103"/>
                  </a:cubicBezTo>
                  <a:cubicBezTo>
                    <a:pt x="375" y="52"/>
                    <a:pt x="375" y="52"/>
                    <a:pt x="375" y="52"/>
                  </a:cubicBezTo>
                  <a:lnTo>
                    <a:pt x="386" y="50"/>
                  </a:lnTo>
                  <a:close/>
                  <a:moveTo>
                    <a:pt x="324" y="70"/>
                  </a:moveTo>
                  <a:cubicBezTo>
                    <a:pt x="325" y="68"/>
                    <a:pt x="327" y="65"/>
                    <a:pt x="330" y="63"/>
                  </a:cubicBezTo>
                  <a:cubicBezTo>
                    <a:pt x="333" y="61"/>
                    <a:pt x="336" y="60"/>
                    <a:pt x="340" y="59"/>
                  </a:cubicBezTo>
                  <a:cubicBezTo>
                    <a:pt x="347" y="57"/>
                    <a:pt x="353" y="57"/>
                    <a:pt x="357" y="59"/>
                  </a:cubicBezTo>
                  <a:cubicBezTo>
                    <a:pt x="361" y="60"/>
                    <a:pt x="364" y="63"/>
                    <a:pt x="365" y="68"/>
                  </a:cubicBezTo>
                  <a:cubicBezTo>
                    <a:pt x="354" y="71"/>
                    <a:pt x="354" y="71"/>
                    <a:pt x="354" y="71"/>
                  </a:cubicBezTo>
                  <a:cubicBezTo>
                    <a:pt x="353" y="69"/>
                    <a:pt x="352" y="67"/>
                    <a:pt x="350" y="67"/>
                  </a:cubicBezTo>
                  <a:cubicBezTo>
                    <a:pt x="348" y="66"/>
                    <a:pt x="345" y="66"/>
                    <a:pt x="342" y="67"/>
                  </a:cubicBezTo>
                  <a:cubicBezTo>
                    <a:pt x="339" y="68"/>
                    <a:pt x="337" y="69"/>
                    <a:pt x="335" y="71"/>
                  </a:cubicBezTo>
                  <a:cubicBezTo>
                    <a:pt x="334" y="72"/>
                    <a:pt x="334" y="73"/>
                    <a:pt x="334" y="74"/>
                  </a:cubicBezTo>
                  <a:cubicBezTo>
                    <a:pt x="335" y="76"/>
                    <a:pt x="336" y="76"/>
                    <a:pt x="337" y="77"/>
                  </a:cubicBezTo>
                  <a:cubicBezTo>
                    <a:pt x="339" y="78"/>
                    <a:pt x="342" y="78"/>
                    <a:pt x="348" y="78"/>
                  </a:cubicBezTo>
                  <a:cubicBezTo>
                    <a:pt x="354" y="77"/>
                    <a:pt x="358" y="77"/>
                    <a:pt x="361" y="78"/>
                  </a:cubicBezTo>
                  <a:cubicBezTo>
                    <a:pt x="364" y="79"/>
                    <a:pt x="366" y="80"/>
                    <a:pt x="368" y="81"/>
                  </a:cubicBezTo>
                  <a:cubicBezTo>
                    <a:pt x="370" y="83"/>
                    <a:pt x="372" y="86"/>
                    <a:pt x="373" y="89"/>
                  </a:cubicBezTo>
                  <a:cubicBezTo>
                    <a:pt x="373" y="92"/>
                    <a:pt x="373" y="95"/>
                    <a:pt x="372" y="98"/>
                  </a:cubicBezTo>
                  <a:cubicBezTo>
                    <a:pt x="371" y="101"/>
                    <a:pt x="369" y="103"/>
                    <a:pt x="366" y="105"/>
                  </a:cubicBezTo>
                  <a:cubicBezTo>
                    <a:pt x="364" y="107"/>
                    <a:pt x="360" y="109"/>
                    <a:pt x="355" y="110"/>
                  </a:cubicBezTo>
                  <a:cubicBezTo>
                    <a:pt x="348" y="112"/>
                    <a:pt x="342" y="112"/>
                    <a:pt x="338" y="110"/>
                  </a:cubicBezTo>
                  <a:cubicBezTo>
                    <a:pt x="333" y="108"/>
                    <a:pt x="330" y="105"/>
                    <a:pt x="328" y="100"/>
                  </a:cubicBezTo>
                  <a:cubicBezTo>
                    <a:pt x="338" y="96"/>
                    <a:pt x="338" y="96"/>
                    <a:pt x="338" y="96"/>
                  </a:cubicBezTo>
                  <a:cubicBezTo>
                    <a:pt x="340" y="99"/>
                    <a:pt x="342" y="101"/>
                    <a:pt x="344" y="102"/>
                  </a:cubicBezTo>
                  <a:cubicBezTo>
                    <a:pt x="346" y="103"/>
                    <a:pt x="349" y="103"/>
                    <a:pt x="353" y="102"/>
                  </a:cubicBezTo>
                  <a:cubicBezTo>
                    <a:pt x="356" y="101"/>
                    <a:pt x="359" y="99"/>
                    <a:pt x="360" y="97"/>
                  </a:cubicBezTo>
                  <a:cubicBezTo>
                    <a:pt x="362" y="96"/>
                    <a:pt x="362" y="94"/>
                    <a:pt x="362" y="92"/>
                  </a:cubicBezTo>
                  <a:cubicBezTo>
                    <a:pt x="361" y="91"/>
                    <a:pt x="361" y="90"/>
                    <a:pt x="360" y="89"/>
                  </a:cubicBezTo>
                  <a:cubicBezTo>
                    <a:pt x="359" y="89"/>
                    <a:pt x="357" y="88"/>
                    <a:pt x="355" y="88"/>
                  </a:cubicBezTo>
                  <a:cubicBezTo>
                    <a:pt x="354" y="88"/>
                    <a:pt x="351" y="88"/>
                    <a:pt x="346" y="88"/>
                  </a:cubicBezTo>
                  <a:cubicBezTo>
                    <a:pt x="339" y="89"/>
                    <a:pt x="335" y="88"/>
                    <a:pt x="332" y="87"/>
                  </a:cubicBezTo>
                  <a:cubicBezTo>
                    <a:pt x="328" y="85"/>
                    <a:pt x="325" y="82"/>
                    <a:pt x="324" y="78"/>
                  </a:cubicBezTo>
                  <a:cubicBezTo>
                    <a:pt x="323" y="76"/>
                    <a:pt x="323" y="73"/>
                    <a:pt x="324" y="70"/>
                  </a:cubicBezTo>
                  <a:close/>
                  <a:moveTo>
                    <a:pt x="286" y="79"/>
                  </a:moveTo>
                  <a:cubicBezTo>
                    <a:pt x="292" y="77"/>
                    <a:pt x="296" y="75"/>
                    <a:pt x="299" y="75"/>
                  </a:cubicBezTo>
                  <a:cubicBezTo>
                    <a:pt x="302" y="75"/>
                    <a:pt x="304" y="75"/>
                    <a:pt x="307" y="77"/>
                  </a:cubicBezTo>
                  <a:cubicBezTo>
                    <a:pt x="309" y="78"/>
                    <a:pt x="311" y="80"/>
                    <a:pt x="312" y="83"/>
                  </a:cubicBezTo>
                  <a:cubicBezTo>
                    <a:pt x="314" y="87"/>
                    <a:pt x="314" y="90"/>
                    <a:pt x="313" y="94"/>
                  </a:cubicBezTo>
                  <a:cubicBezTo>
                    <a:pt x="311" y="97"/>
                    <a:pt x="309" y="100"/>
                    <a:pt x="304" y="102"/>
                  </a:cubicBezTo>
                  <a:cubicBezTo>
                    <a:pt x="307" y="103"/>
                    <a:pt x="310" y="103"/>
                    <a:pt x="312" y="104"/>
                  </a:cubicBezTo>
                  <a:cubicBezTo>
                    <a:pt x="314" y="105"/>
                    <a:pt x="317" y="106"/>
                    <a:pt x="321" y="109"/>
                  </a:cubicBezTo>
                  <a:cubicBezTo>
                    <a:pt x="331" y="115"/>
                    <a:pt x="331" y="115"/>
                    <a:pt x="331" y="115"/>
                  </a:cubicBezTo>
                  <a:cubicBezTo>
                    <a:pt x="319" y="121"/>
                    <a:pt x="319" y="121"/>
                    <a:pt x="319" y="121"/>
                  </a:cubicBezTo>
                  <a:cubicBezTo>
                    <a:pt x="307" y="114"/>
                    <a:pt x="307" y="114"/>
                    <a:pt x="307" y="114"/>
                  </a:cubicBezTo>
                  <a:cubicBezTo>
                    <a:pt x="302" y="112"/>
                    <a:pt x="300" y="110"/>
                    <a:pt x="298" y="109"/>
                  </a:cubicBezTo>
                  <a:cubicBezTo>
                    <a:pt x="297" y="109"/>
                    <a:pt x="295" y="109"/>
                    <a:pt x="294" y="109"/>
                  </a:cubicBezTo>
                  <a:cubicBezTo>
                    <a:pt x="293" y="109"/>
                    <a:pt x="291" y="110"/>
                    <a:pt x="289" y="111"/>
                  </a:cubicBezTo>
                  <a:cubicBezTo>
                    <a:pt x="286" y="112"/>
                    <a:pt x="286" y="112"/>
                    <a:pt x="286" y="112"/>
                  </a:cubicBezTo>
                  <a:cubicBezTo>
                    <a:pt x="295" y="131"/>
                    <a:pt x="295" y="131"/>
                    <a:pt x="295" y="131"/>
                  </a:cubicBezTo>
                  <a:cubicBezTo>
                    <a:pt x="285" y="136"/>
                    <a:pt x="285" y="136"/>
                    <a:pt x="285" y="136"/>
                  </a:cubicBezTo>
                  <a:cubicBezTo>
                    <a:pt x="264" y="89"/>
                    <a:pt x="264" y="89"/>
                    <a:pt x="264" y="89"/>
                  </a:cubicBezTo>
                  <a:lnTo>
                    <a:pt x="286" y="79"/>
                  </a:lnTo>
                  <a:close/>
                  <a:moveTo>
                    <a:pt x="250" y="96"/>
                  </a:moveTo>
                  <a:cubicBezTo>
                    <a:pt x="255" y="104"/>
                    <a:pt x="255" y="104"/>
                    <a:pt x="255" y="104"/>
                  </a:cubicBezTo>
                  <a:cubicBezTo>
                    <a:pt x="229" y="120"/>
                    <a:pt x="229" y="120"/>
                    <a:pt x="229" y="120"/>
                  </a:cubicBezTo>
                  <a:cubicBezTo>
                    <a:pt x="235" y="130"/>
                    <a:pt x="235" y="130"/>
                    <a:pt x="235" y="130"/>
                  </a:cubicBezTo>
                  <a:cubicBezTo>
                    <a:pt x="259" y="115"/>
                    <a:pt x="259" y="115"/>
                    <a:pt x="259" y="115"/>
                  </a:cubicBezTo>
                  <a:cubicBezTo>
                    <a:pt x="264" y="122"/>
                    <a:pt x="264" y="122"/>
                    <a:pt x="264" y="122"/>
                  </a:cubicBezTo>
                  <a:cubicBezTo>
                    <a:pt x="240" y="137"/>
                    <a:pt x="240" y="137"/>
                    <a:pt x="240" y="137"/>
                  </a:cubicBezTo>
                  <a:cubicBezTo>
                    <a:pt x="247" y="149"/>
                    <a:pt x="247" y="149"/>
                    <a:pt x="247" y="149"/>
                  </a:cubicBezTo>
                  <a:cubicBezTo>
                    <a:pt x="274" y="132"/>
                    <a:pt x="274" y="132"/>
                    <a:pt x="274" y="132"/>
                  </a:cubicBezTo>
                  <a:cubicBezTo>
                    <a:pt x="278" y="139"/>
                    <a:pt x="278" y="139"/>
                    <a:pt x="278" y="139"/>
                  </a:cubicBezTo>
                  <a:cubicBezTo>
                    <a:pt x="242" y="162"/>
                    <a:pt x="242" y="162"/>
                    <a:pt x="242" y="162"/>
                  </a:cubicBezTo>
                  <a:cubicBezTo>
                    <a:pt x="214" y="119"/>
                    <a:pt x="214" y="119"/>
                    <a:pt x="214" y="119"/>
                  </a:cubicBezTo>
                  <a:lnTo>
                    <a:pt x="250" y="96"/>
                  </a:lnTo>
                  <a:close/>
                  <a:moveTo>
                    <a:pt x="175" y="151"/>
                  </a:moveTo>
                  <a:cubicBezTo>
                    <a:pt x="210" y="171"/>
                    <a:pt x="210" y="171"/>
                    <a:pt x="210" y="171"/>
                  </a:cubicBezTo>
                  <a:cubicBezTo>
                    <a:pt x="196" y="133"/>
                    <a:pt x="196" y="133"/>
                    <a:pt x="196" y="133"/>
                  </a:cubicBezTo>
                  <a:cubicBezTo>
                    <a:pt x="206" y="125"/>
                    <a:pt x="206" y="125"/>
                    <a:pt x="206" y="125"/>
                  </a:cubicBezTo>
                  <a:cubicBezTo>
                    <a:pt x="223" y="177"/>
                    <a:pt x="223" y="177"/>
                    <a:pt x="223" y="177"/>
                  </a:cubicBezTo>
                  <a:cubicBezTo>
                    <a:pt x="214" y="185"/>
                    <a:pt x="214" y="185"/>
                    <a:pt x="214" y="185"/>
                  </a:cubicBezTo>
                  <a:cubicBezTo>
                    <a:pt x="165" y="159"/>
                    <a:pt x="165" y="159"/>
                    <a:pt x="165" y="159"/>
                  </a:cubicBezTo>
                  <a:lnTo>
                    <a:pt x="175" y="151"/>
                  </a:lnTo>
                  <a:close/>
                  <a:moveTo>
                    <a:pt x="160" y="165"/>
                  </a:moveTo>
                  <a:cubicBezTo>
                    <a:pt x="197" y="201"/>
                    <a:pt x="197" y="201"/>
                    <a:pt x="197" y="201"/>
                  </a:cubicBezTo>
                  <a:cubicBezTo>
                    <a:pt x="189" y="209"/>
                    <a:pt x="189" y="209"/>
                    <a:pt x="189" y="209"/>
                  </a:cubicBezTo>
                  <a:cubicBezTo>
                    <a:pt x="152" y="174"/>
                    <a:pt x="152" y="174"/>
                    <a:pt x="152" y="174"/>
                  </a:cubicBezTo>
                  <a:lnTo>
                    <a:pt x="160" y="165"/>
                  </a:lnTo>
                  <a:close/>
                  <a:moveTo>
                    <a:pt x="121" y="211"/>
                  </a:moveTo>
                  <a:cubicBezTo>
                    <a:pt x="163" y="214"/>
                    <a:pt x="163" y="214"/>
                    <a:pt x="163" y="214"/>
                  </a:cubicBezTo>
                  <a:cubicBezTo>
                    <a:pt x="135" y="193"/>
                    <a:pt x="135" y="193"/>
                    <a:pt x="135" y="193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82" y="216"/>
                    <a:pt x="182" y="216"/>
                    <a:pt x="182" y="216"/>
                  </a:cubicBezTo>
                  <a:cubicBezTo>
                    <a:pt x="175" y="225"/>
                    <a:pt x="175" y="225"/>
                    <a:pt x="175" y="225"/>
                  </a:cubicBezTo>
                  <a:cubicBezTo>
                    <a:pt x="134" y="222"/>
                    <a:pt x="134" y="222"/>
                    <a:pt x="134" y="222"/>
                  </a:cubicBezTo>
                  <a:cubicBezTo>
                    <a:pt x="161" y="243"/>
                    <a:pt x="161" y="243"/>
                    <a:pt x="161" y="243"/>
                  </a:cubicBezTo>
                  <a:cubicBezTo>
                    <a:pt x="155" y="252"/>
                    <a:pt x="155" y="252"/>
                    <a:pt x="155" y="252"/>
                  </a:cubicBezTo>
                  <a:cubicBezTo>
                    <a:pt x="114" y="220"/>
                    <a:pt x="114" y="220"/>
                    <a:pt x="114" y="220"/>
                  </a:cubicBezTo>
                  <a:lnTo>
                    <a:pt x="121" y="211"/>
                  </a:lnTo>
                  <a:close/>
                  <a:moveTo>
                    <a:pt x="88" y="264"/>
                  </a:moveTo>
                  <a:cubicBezTo>
                    <a:pt x="112" y="278"/>
                    <a:pt x="112" y="278"/>
                    <a:pt x="112" y="278"/>
                  </a:cubicBezTo>
                  <a:cubicBezTo>
                    <a:pt x="116" y="280"/>
                    <a:pt x="119" y="281"/>
                    <a:pt x="120" y="281"/>
                  </a:cubicBezTo>
                  <a:cubicBezTo>
                    <a:pt x="122" y="282"/>
                    <a:pt x="124" y="282"/>
                    <a:pt x="126" y="281"/>
                  </a:cubicBezTo>
                  <a:cubicBezTo>
                    <a:pt x="128" y="280"/>
                    <a:pt x="130" y="278"/>
                    <a:pt x="132" y="275"/>
                  </a:cubicBezTo>
                  <a:cubicBezTo>
                    <a:pt x="133" y="272"/>
                    <a:pt x="134" y="270"/>
                    <a:pt x="134" y="268"/>
                  </a:cubicBezTo>
                  <a:cubicBezTo>
                    <a:pt x="134" y="266"/>
                    <a:pt x="133" y="264"/>
                    <a:pt x="131" y="263"/>
                  </a:cubicBezTo>
                  <a:cubicBezTo>
                    <a:pt x="130" y="262"/>
                    <a:pt x="127" y="260"/>
                    <a:pt x="124" y="258"/>
                  </a:cubicBezTo>
                  <a:cubicBezTo>
                    <a:pt x="99" y="244"/>
                    <a:pt x="99" y="244"/>
                    <a:pt x="99" y="244"/>
                  </a:cubicBezTo>
                  <a:cubicBezTo>
                    <a:pt x="104" y="234"/>
                    <a:pt x="104" y="234"/>
                    <a:pt x="104" y="234"/>
                  </a:cubicBezTo>
                  <a:cubicBezTo>
                    <a:pt x="128" y="248"/>
                    <a:pt x="128" y="248"/>
                    <a:pt x="128" y="248"/>
                  </a:cubicBezTo>
                  <a:cubicBezTo>
                    <a:pt x="134" y="251"/>
                    <a:pt x="137" y="253"/>
                    <a:pt x="139" y="255"/>
                  </a:cubicBezTo>
                  <a:cubicBezTo>
                    <a:pt x="141" y="257"/>
                    <a:pt x="142" y="259"/>
                    <a:pt x="143" y="261"/>
                  </a:cubicBezTo>
                  <a:cubicBezTo>
                    <a:pt x="144" y="263"/>
                    <a:pt x="144" y="266"/>
                    <a:pt x="144" y="269"/>
                  </a:cubicBezTo>
                  <a:cubicBezTo>
                    <a:pt x="143" y="272"/>
                    <a:pt x="142" y="275"/>
                    <a:pt x="140" y="279"/>
                  </a:cubicBezTo>
                  <a:cubicBezTo>
                    <a:pt x="137" y="284"/>
                    <a:pt x="134" y="287"/>
                    <a:pt x="132" y="289"/>
                  </a:cubicBezTo>
                  <a:cubicBezTo>
                    <a:pt x="130" y="291"/>
                    <a:pt x="127" y="292"/>
                    <a:pt x="125" y="293"/>
                  </a:cubicBezTo>
                  <a:cubicBezTo>
                    <a:pt x="123" y="293"/>
                    <a:pt x="120" y="293"/>
                    <a:pt x="118" y="293"/>
                  </a:cubicBezTo>
                  <a:cubicBezTo>
                    <a:pt x="115" y="292"/>
                    <a:pt x="111" y="290"/>
                    <a:pt x="106" y="287"/>
                  </a:cubicBezTo>
                  <a:cubicBezTo>
                    <a:pt x="82" y="274"/>
                    <a:pt x="82" y="274"/>
                    <a:pt x="82" y="274"/>
                  </a:cubicBezTo>
                  <a:lnTo>
                    <a:pt x="88" y="264"/>
                  </a:lnTo>
                  <a:close/>
                  <a:moveTo>
                    <a:pt x="45" y="402"/>
                  </a:moveTo>
                  <a:cubicBezTo>
                    <a:pt x="82" y="384"/>
                    <a:pt x="82" y="384"/>
                    <a:pt x="82" y="384"/>
                  </a:cubicBezTo>
                  <a:cubicBezTo>
                    <a:pt x="48" y="379"/>
                    <a:pt x="48" y="379"/>
                    <a:pt x="48" y="379"/>
                  </a:cubicBezTo>
                  <a:cubicBezTo>
                    <a:pt x="50" y="368"/>
                    <a:pt x="50" y="368"/>
                    <a:pt x="50" y="368"/>
                  </a:cubicBezTo>
                  <a:cubicBezTo>
                    <a:pt x="101" y="376"/>
                    <a:pt x="101" y="376"/>
                    <a:pt x="101" y="376"/>
                  </a:cubicBezTo>
                  <a:cubicBezTo>
                    <a:pt x="99" y="387"/>
                    <a:pt x="99" y="387"/>
                    <a:pt x="99" y="387"/>
                  </a:cubicBezTo>
                  <a:cubicBezTo>
                    <a:pt x="62" y="405"/>
                    <a:pt x="62" y="405"/>
                    <a:pt x="62" y="405"/>
                  </a:cubicBezTo>
                  <a:cubicBezTo>
                    <a:pt x="95" y="410"/>
                    <a:pt x="95" y="410"/>
                    <a:pt x="95" y="410"/>
                  </a:cubicBezTo>
                  <a:cubicBezTo>
                    <a:pt x="94" y="421"/>
                    <a:pt x="94" y="421"/>
                    <a:pt x="94" y="421"/>
                  </a:cubicBezTo>
                  <a:cubicBezTo>
                    <a:pt x="43" y="413"/>
                    <a:pt x="43" y="413"/>
                    <a:pt x="43" y="413"/>
                  </a:cubicBezTo>
                  <a:lnTo>
                    <a:pt x="45" y="402"/>
                  </a:lnTo>
                  <a:close/>
                  <a:moveTo>
                    <a:pt x="42" y="427"/>
                  </a:moveTo>
                  <a:cubicBezTo>
                    <a:pt x="94" y="430"/>
                    <a:pt x="94" y="430"/>
                    <a:pt x="94" y="430"/>
                  </a:cubicBezTo>
                  <a:cubicBezTo>
                    <a:pt x="93" y="441"/>
                    <a:pt x="93" y="441"/>
                    <a:pt x="93" y="441"/>
                  </a:cubicBezTo>
                  <a:cubicBezTo>
                    <a:pt x="42" y="439"/>
                    <a:pt x="42" y="439"/>
                    <a:pt x="42" y="439"/>
                  </a:cubicBezTo>
                  <a:lnTo>
                    <a:pt x="42" y="427"/>
                  </a:lnTo>
                  <a:close/>
                  <a:moveTo>
                    <a:pt x="43" y="487"/>
                  </a:moveTo>
                  <a:cubicBezTo>
                    <a:pt x="63" y="486"/>
                    <a:pt x="63" y="486"/>
                    <a:pt x="63" y="486"/>
                  </a:cubicBezTo>
                  <a:cubicBezTo>
                    <a:pt x="62" y="464"/>
                    <a:pt x="62" y="464"/>
                    <a:pt x="62" y="464"/>
                  </a:cubicBezTo>
                  <a:cubicBezTo>
                    <a:pt x="42" y="465"/>
                    <a:pt x="42" y="465"/>
                    <a:pt x="42" y="465"/>
                  </a:cubicBezTo>
                  <a:cubicBezTo>
                    <a:pt x="41" y="453"/>
                    <a:pt x="41" y="453"/>
                    <a:pt x="41" y="453"/>
                  </a:cubicBezTo>
                  <a:cubicBezTo>
                    <a:pt x="92" y="450"/>
                    <a:pt x="92" y="450"/>
                    <a:pt x="92" y="450"/>
                  </a:cubicBezTo>
                  <a:cubicBezTo>
                    <a:pt x="93" y="462"/>
                    <a:pt x="93" y="462"/>
                    <a:pt x="93" y="462"/>
                  </a:cubicBezTo>
                  <a:cubicBezTo>
                    <a:pt x="71" y="463"/>
                    <a:pt x="71" y="463"/>
                    <a:pt x="71" y="463"/>
                  </a:cubicBezTo>
                  <a:cubicBezTo>
                    <a:pt x="72" y="486"/>
                    <a:pt x="72" y="486"/>
                    <a:pt x="72" y="486"/>
                  </a:cubicBezTo>
                  <a:cubicBezTo>
                    <a:pt x="94" y="484"/>
                    <a:pt x="94" y="484"/>
                    <a:pt x="94" y="484"/>
                  </a:cubicBezTo>
                  <a:cubicBezTo>
                    <a:pt x="95" y="496"/>
                    <a:pt x="95" y="496"/>
                    <a:pt x="95" y="496"/>
                  </a:cubicBezTo>
                  <a:cubicBezTo>
                    <a:pt x="43" y="499"/>
                    <a:pt x="43" y="499"/>
                    <a:pt x="43" y="499"/>
                  </a:cubicBezTo>
                  <a:lnTo>
                    <a:pt x="43" y="487"/>
                  </a:lnTo>
                  <a:close/>
                  <a:moveTo>
                    <a:pt x="98" y="546"/>
                  </a:moveTo>
                  <a:cubicBezTo>
                    <a:pt x="95" y="551"/>
                    <a:pt x="89" y="555"/>
                    <a:pt x="81" y="557"/>
                  </a:cubicBezTo>
                  <a:cubicBezTo>
                    <a:pt x="73" y="559"/>
                    <a:pt x="66" y="558"/>
                    <a:pt x="60" y="554"/>
                  </a:cubicBezTo>
                  <a:cubicBezTo>
                    <a:pt x="54" y="550"/>
                    <a:pt x="51" y="544"/>
                    <a:pt x="49" y="536"/>
                  </a:cubicBezTo>
                  <a:cubicBezTo>
                    <a:pt x="48" y="529"/>
                    <a:pt x="48" y="523"/>
                    <a:pt x="51" y="518"/>
                  </a:cubicBezTo>
                  <a:cubicBezTo>
                    <a:pt x="53" y="515"/>
                    <a:pt x="55" y="513"/>
                    <a:pt x="59" y="511"/>
                  </a:cubicBezTo>
                  <a:cubicBezTo>
                    <a:pt x="64" y="521"/>
                    <a:pt x="64" y="521"/>
                    <a:pt x="64" y="521"/>
                  </a:cubicBezTo>
                  <a:cubicBezTo>
                    <a:pt x="61" y="523"/>
                    <a:pt x="60" y="524"/>
                    <a:pt x="58" y="527"/>
                  </a:cubicBezTo>
                  <a:cubicBezTo>
                    <a:pt x="57" y="529"/>
                    <a:pt x="57" y="532"/>
                    <a:pt x="58" y="535"/>
                  </a:cubicBezTo>
                  <a:cubicBezTo>
                    <a:pt x="59" y="539"/>
                    <a:pt x="61" y="542"/>
                    <a:pt x="64" y="544"/>
                  </a:cubicBezTo>
                  <a:cubicBezTo>
                    <a:pt x="67" y="546"/>
                    <a:pt x="72" y="547"/>
                    <a:pt x="78" y="545"/>
                  </a:cubicBezTo>
                  <a:cubicBezTo>
                    <a:pt x="84" y="544"/>
                    <a:pt x="89" y="542"/>
                    <a:pt x="91" y="539"/>
                  </a:cubicBezTo>
                  <a:cubicBezTo>
                    <a:pt x="93" y="536"/>
                    <a:pt x="94" y="532"/>
                    <a:pt x="93" y="528"/>
                  </a:cubicBezTo>
                  <a:cubicBezTo>
                    <a:pt x="92" y="525"/>
                    <a:pt x="91" y="522"/>
                    <a:pt x="89" y="521"/>
                  </a:cubicBezTo>
                  <a:cubicBezTo>
                    <a:pt x="86" y="519"/>
                    <a:pt x="83" y="518"/>
                    <a:pt x="79" y="518"/>
                  </a:cubicBezTo>
                  <a:cubicBezTo>
                    <a:pt x="80" y="506"/>
                    <a:pt x="80" y="506"/>
                    <a:pt x="80" y="506"/>
                  </a:cubicBezTo>
                  <a:cubicBezTo>
                    <a:pt x="86" y="507"/>
                    <a:pt x="91" y="509"/>
                    <a:pt x="94" y="512"/>
                  </a:cubicBezTo>
                  <a:cubicBezTo>
                    <a:pt x="98" y="515"/>
                    <a:pt x="100" y="520"/>
                    <a:pt x="101" y="526"/>
                  </a:cubicBezTo>
                  <a:cubicBezTo>
                    <a:pt x="103" y="533"/>
                    <a:pt x="102" y="540"/>
                    <a:pt x="98" y="546"/>
                  </a:cubicBezTo>
                  <a:close/>
                  <a:moveTo>
                    <a:pt x="115" y="330"/>
                  </a:moveTo>
                  <a:cubicBezTo>
                    <a:pt x="102" y="331"/>
                    <a:pt x="102" y="331"/>
                    <a:pt x="102" y="331"/>
                  </a:cubicBezTo>
                  <a:cubicBezTo>
                    <a:pt x="95" y="353"/>
                    <a:pt x="95" y="353"/>
                    <a:pt x="95" y="353"/>
                  </a:cubicBezTo>
                  <a:cubicBezTo>
                    <a:pt x="105" y="361"/>
                    <a:pt x="105" y="361"/>
                    <a:pt x="105" y="361"/>
                  </a:cubicBezTo>
                  <a:cubicBezTo>
                    <a:pt x="101" y="373"/>
                    <a:pt x="101" y="373"/>
                    <a:pt x="101" y="373"/>
                  </a:cubicBezTo>
                  <a:cubicBezTo>
                    <a:pt x="59" y="336"/>
                    <a:pt x="59" y="336"/>
                    <a:pt x="59" y="336"/>
                  </a:cubicBezTo>
                  <a:cubicBezTo>
                    <a:pt x="62" y="324"/>
                    <a:pt x="62" y="324"/>
                    <a:pt x="62" y="324"/>
                  </a:cubicBezTo>
                  <a:cubicBezTo>
                    <a:pt x="118" y="318"/>
                    <a:pt x="118" y="318"/>
                    <a:pt x="118" y="318"/>
                  </a:cubicBezTo>
                  <a:lnTo>
                    <a:pt x="115" y="330"/>
                  </a:lnTo>
                  <a:close/>
                  <a:moveTo>
                    <a:pt x="252" y="762"/>
                  </a:moveTo>
                  <a:cubicBezTo>
                    <a:pt x="252" y="763"/>
                    <a:pt x="251" y="764"/>
                    <a:pt x="250" y="764"/>
                  </a:cubicBezTo>
                  <a:cubicBezTo>
                    <a:pt x="248" y="765"/>
                    <a:pt x="239" y="763"/>
                    <a:pt x="238" y="764"/>
                  </a:cubicBezTo>
                  <a:cubicBezTo>
                    <a:pt x="233" y="764"/>
                    <a:pt x="232" y="764"/>
                    <a:pt x="231" y="766"/>
                  </a:cubicBezTo>
                  <a:cubicBezTo>
                    <a:pt x="231" y="767"/>
                    <a:pt x="231" y="770"/>
                    <a:pt x="229" y="770"/>
                  </a:cubicBezTo>
                  <a:cubicBezTo>
                    <a:pt x="227" y="769"/>
                    <a:pt x="222" y="768"/>
                    <a:pt x="219" y="768"/>
                  </a:cubicBezTo>
                  <a:cubicBezTo>
                    <a:pt x="218" y="768"/>
                    <a:pt x="217" y="768"/>
                    <a:pt x="216" y="768"/>
                  </a:cubicBezTo>
                  <a:cubicBezTo>
                    <a:pt x="205" y="781"/>
                    <a:pt x="197" y="792"/>
                    <a:pt x="185" y="804"/>
                  </a:cubicBezTo>
                  <a:cubicBezTo>
                    <a:pt x="185" y="804"/>
                    <a:pt x="183" y="805"/>
                    <a:pt x="183" y="805"/>
                  </a:cubicBezTo>
                  <a:cubicBezTo>
                    <a:pt x="191" y="792"/>
                    <a:pt x="199" y="779"/>
                    <a:pt x="208" y="766"/>
                  </a:cubicBezTo>
                  <a:cubicBezTo>
                    <a:pt x="209" y="764"/>
                    <a:pt x="208" y="763"/>
                    <a:pt x="208" y="763"/>
                  </a:cubicBezTo>
                  <a:cubicBezTo>
                    <a:pt x="207" y="761"/>
                    <a:pt x="210" y="758"/>
                    <a:pt x="212" y="758"/>
                  </a:cubicBezTo>
                  <a:cubicBezTo>
                    <a:pt x="212" y="758"/>
                    <a:pt x="213" y="758"/>
                    <a:pt x="214" y="758"/>
                  </a:cubicBezTo>
                  <a:cubicBezTo>
                    <a:pt x="219" y="750"/>
                    <a:pt x="219" y="750"/>
                    <a:pt x="221" y="747"/>
                  </a:cubicBezTo>
                  <a:cubicBezTo>
                    <a:pt x="219" y="746"/>
                    <a:pt x="211" y="743"/>
                    <a:pt x="213" y="741"/>
                  </a:cubicBezTo>
                  <a:cubicBezTo>
                    <a:pt x="214" y="741"/>
                    <a:pt x="216" y="741"/>
                    <a:pt x="218" y="741"/>
                  </a:cubicBezTo>
                  <a:cubicBezTo>
                    <a:pt x="220" y="742"/>
                    <a:pt x="222" y="742"/>
                    <a:pt x="223" y="743"/>
                  </a:cubicBezTo>
                  <a:cubicBezTo>
                    <a:pt x="227" y="739"/>
                    <a:pt x="229" y="736"/>
                    <a:pt x="231" y="731"/>
                  </a:cubicBezTo>
                  <a:cubicBezTo>
                    <a:pt x="231" y="730"/>
                    <a:pt x="234" y="726"/>
                    <a:pt x="233" y="726"/>
                  </a:cubicBezTo>
                  <a:cubicBezTo>
                    <a:pt x="233" y="724"/>
                    <a:pt x="233" y="724"/>
                    <a:pt x="233" y="723"/>
                  </a:cubicBezTo>
                  <a:cubicBezTo>
                    <a:pt x="237" y="725"/>
                    <a:pt x="239" y="727"/>
                    <a:pt x="239" y="731"/>
                  </a:cubicBezTo>
                  <a:cubicBezTo>
                    <a:pt x="239" y="731"/>
                    <a:pt x="239" y="734"/>
                    <a:pt x="239" y="735"/>
                  </a:cubicBezTo>
                  <a:cubicBezTo>
                    <a:pt x="236" y="738"/>
                    <a:pt x="234" y="742"/>
                    <a:pt x="231" y="745"/>
                  </a:cubicBezTo>
                  <a:cubicBezTo>
                    <a:pt x="232" y="746"/>
                    <a:pt x="233" y="746"/>
                    <a:pt x="234" y="746"/>
                  </a:cubicBezTo>
                  <a:cubicBezTo>
                    <a:pt x="237" y="748"/>
                    <a:pt x="239" y="748"/>
                    <a:pt x="242" y="750"/>
                  </a:cubicBezTo>
                  <a:cubicBezTo>
                    <a:pt x="243" y="749"/>
                    <a:pt x="244" y="750"/>
                    <a:pt x="244" y="749"/>
                  </a:cubicBezTo>
                  <a:cubicBezTo>
                    <a:pt x="252" y="753"/>
                    <a:pt x="253" y="761"/>
                    <a:pt x="252" y="762"/>
                  </a:cubicBezTo>
                  <a:close/>
                  <a:moveTo>
                    <a:pt x="189" y="735"/>
                  </a:moveTo>
                  <a:cubicBezTo>
                    <a:pt x="192" y="737"/>
                    <a:pt x="195" y="739"/>
                    <a:pt x="196" y="742"/>
                  </a:cubicBezTo>
                  <a:cubicBezTo>
                    <a:pt x="197" y="743"/>
                    <a:pt x="201" y="748"/>
                    <a:pt x="203" y="754"/>
                  </a:cubicBezTo>
                  <a:cubicBezTo>
                    <a:pt x="204" y="757"/>
                    <a:pt x="205" y="758"/>
                    <a:pt x="204" y="761"/>
                  </a:cubicBezTo>
                  <a:cubicBezTo>
                    <a:pt x="199" y="758"/>
                    <a:pt x="200" y="757"/>
                    <a:pt x="198" y="752"/>
                  </a:cubicBezTo>
                  <a:cubicBezTo>
                    <a:pt x="198" y="750"/>
                    <a:pt x="197" y="748"/>
                    <a:pt x="193" y="744"/>
                  </a:cubicBezTo>
                  <a:cubicBezTo>
                    <a:pt x="193" y="742"/>
                    <a:pt x="189" y="738"/>
                    <a:pt x="189" y="735"/>
                  </a:cubicBezTo>
                  <a:close/>
                  <a:moveTo>
                    <a:pt x="262" y="820"/>
                  </a:moveTo>
                  <a:cubicBezTo>
                    <a:pt x="262" y="818"/>
                    <a:pt x="260" y="817"/>
                    <a:pt x="260" y="815"/>
                  </a:cubicBezTo>
                  <a:cubicBezTo>
                    <a:pt x="266" y="807"/>
                    <a:pt x="274" y="789"/>
                    <a:pt x="281" y="779"/>
                  </a:cubicBezTo>
                  <a:cubicBezTo>
                    <a:pt x="282" y="777"/>
                    <a:pt x="283" y="776"/>
                    <a:pt x="284" y="776"/>
                  </a:cubicBezTo>
                  <a:cubicBezTo>
                    <a:pt x="284" y="777"/>
                    <a:pt x="285" y="777"/>
                    <a:pt x="283" y="781"/>
                  </a:cubicBezTo>
                  <a:cubicBezTo>
                    <a:pt x="283" y="782"/>
                    <a:pt x="263" y="819"/>
                    <a:pt x="265" y="821"/>
                  </a:cubicBezTo>
                  <a:cubicBezTo>
                    <a:pt x="263" y="821"/>
                    <a:pt x="263" y="821"/>
                    <a:pt x="262" y="820"/>
                  </a:cubicBezTo>
                  <a:close/>
                  <a:moveTo>
                    <a:pt x="289" y="829"/>
                  </a:moveTo>
                  <a:cubicBezTo>
                    <a:pt x="288" y="830"/>
                    <a:pt x="288" y="830"/>
                    <a:pt x="287" y="830"/>
                  </a:cubicBezTo>
                  <a:cubicBezTo>
                    <a:pt x="286" y="830"/>
                    <a:pt x="284" y="829"/>
                    <a:pt x="282" y="828"/>
                  </a:cubicBezTo>
                  <a:cubicBezTo>
                    <a:pt x="280" y="826"/>
                    <a:pt x="275" y="818"/>
                    <a:pt x="276" y="816"/>
                  </a:cubicBezTo>
                  <a:cubicBezTo>
                    <a:pt x="276" y="816"/>
                    <a:pt x="276" y="816"/>
                    <a:pt x="276" y="816"/>
                  </a:cubicBezTo>
                  <a:cubicBezTo>
                    <a:pt x="278" y="822"/>
                    <a:pt x="286" y="820"/>
                    <a:pt x="294" y="818"/>
                  </a:cubicBezTo>
                  <a:cubicBezTo>
                    <a:pt x="300" y="816"/>
                    <a:pt x="305" y="813"/>
                    <a:pt x="305" y="812"/>
                  </a:cubicBezTo>
                  <a:cubicBezTo>
                    <a:pt x="305" y="811"/>
                    <a:pt x="305" y="810"/>
                    <a:pt x="304" y="809"/>
                  </a:cubicBezTo>
                  <a:cubicBezTo>
                    <a:pt x="304" y="810"/>
                    <a:pt x="301" y="811"/>
                    <a:pt x="297" y="812"/>
                  </a:cubicBezTo>
                  <a:cubicBezTo>
                    <a:pt x="288" y="814"/>
                    <a:pt x="275" y="816"/>
                    <a:pt x="273" y="815"/>
                  </a:cubicBezTo>
                  <a:cubicBezTo>
                    <a:pt x="270" y="814"/>
                    <a:pt x="270" y="813"/>
                    <a:pt x="273" y="809"/>
                  </a:cubicBezTo>
                  <a:cubicBezTo>
                    <a:pt x="279" y="807"/>
                    <a:pt x="290" y="805"/>
                    <a:pt x="297" y="802"/>
                  </a:cubicBezTo>
                  <a:cubicBezTo>
                    <a:pt x="297" y="801"/>
                    <a:pt x="299" y="801"/>
                    <a:pt x="298" y="799"/>
                  </a:cubicBezTo>
                  <a:cubicBezTo>
                    <a:pt x="295" y="800"/>
                    <a:pt x="286" y="801"/>
                    <a:pt x="284" y="801"/>
                  </a:cubicBezTo>
                  <a:cubicBezTo>
                    <a:pt x="281" y="798"/>
                    <a:pt x="283" y="795"/>
                    <a:pt x="284" y="792"/>
                  </a:cubicBezTo>
                  <a:cubicBezTo>
                    <a:pt x="285" y="792"/>
                    <a:pt x="284" y="792"/>
                    <a:pt x="285" y="792"/>
                  </a:cubicBezTo>
                  <a:cubicBezTo>
                    <a:pt x="287" y="794"/>
                    <a:pt x="294" y="792"/>
                    <a:pt x="295" y="791"/>
                  </a:cubicBezTo>
                  <a:cubicBezTo>
                    <a:pt x="294" y="789"/>
                    <a:pt x="292" y="784"/>
                    <a:pt x="293" y="785"/>
                  </a:cubicBezTo>
                  <a:cubicBezTo>
                    <a:pt x="295" y="786"/>
                    <a:pt x="295" y="787"/>
                    <a:pt x="298" y="787"/>
                  </a:cubicBezTo>
                  <a:cubicBezTo>
                    <a:pt x="298" y="787"/>
                    <a:pt x="299" y="787"/>
                    <a:pt x="298" y="787"/>
                  </a:cubicBezTo>
                  <a:cubicBezTo>
                    <a:pt x="297" y="786"/>
                    <a:pt x="295" y="785"/>
                    <a:pt x="295" y="784"/>
                  </a:cubicBezTo>
                  <a:cubicBezTo>
                    <a:pt x="296" y="782"/>
                    <a:pt x="298" y="782"/>
                    <a:pt x="299" y="783"/>
                  </a:cubicBezTo>
                  <a:cubicBezTo>
                    <a:pt x="301" y="784"/>
                    <a:pt x="308" y="789"/>
                    <a:pt x="308" y="789"/>
                  </a:cubicBezTo>
                  <a:cubicBezTo>
                    <a:pt x="309" y="790"/>
                    <a:pt x="309" y="790"/>
                    <a:pt x="309" y="790"/>
                  </a:cubicBezTo>
                  <a:cubicBezTo>
                    <a:pt x="310" y="791"/>
                    <a:pt x="310" y="792"/>
                    <a:pt x="310" y="793"/>
                  </a:cubicBezTo>
                  <a:cubicBezTo>
                    <a:pt x="310" y="796"/>
                    <a:pt x="308" y="797"/>
                    <a:pt x="305" y="797"/>
                  </a:cubicBezTo>
                  <a:cubicBezTo>
                    <a:pt x="306" y="802"/>
                    <a:pt x="306" y="806"/>
                    <a:pt x="309" y="811"/>
                  </a:cubicBezTo>
                  <a:cubicBezTo>
                    <a:pt x="311" y="809"/>
                    <a:pt x="313" y="809"/>
                    <a:pt x="313" y="808"/>
                  </a:cubicBezTo>
                  <a:cubicBezTo>
                    <a:pt x="316" y="810"/>
                    <a:pt x="317" y="811"/>
                    <a:pt x="317" y="814"/>
                  </a:cubicBezTo>
                  <a:cubicBezTo>
                    <a:pt x="315" y="818"/>
                    <a:pt x="310" y="817"/>
                    <a:pt x="309" y="819"/>
                  </a:cubicBezTo>
                  <a:cubicBezTo>
                    <a:pt x="308" y="823"/>
                    <a:pt x="309" y="831"/>
                    <a:pt x="307" y="834"/>
                  </a:cubicBezTo>
                  <a:cubicBezTo>
                    <a:pt x="307" y="835"/>
                    <a:pt x="306" y="835"/>
                    <a:pt x="305" y="834"/>
                  </a:cubicBezTo>
                  <a:cubicBezTo>
                    <a:pt x="304" y="831"/>
                    <a:pt x="305" y="824"/>
                    <a:pt x="305" y="820"/>
                  </a:cubicBezTo>
                  <a:cubicBezTo>
                    <a:pt x="303" y="821"/>
                    <a:pt x="299" y="823"/>
                    <a:pt x="295" y="823"/>
                  </a:cubicBezTo>
                  <a:cubicBezTo>
                    <a:pt x="295" y="824"/>
                    <a:pt x="295" y="824"/>
                    <a:pt x="295" y="825"/>
                  </a:cubicBezTo>
                  <a:cubicBezTo>
                    <a:pt x="297" y="826"/>
                    <a:pt x="297" y="827"/>
                    <a:pt x="298" y="828"/>
                  </a:cubicBezTo>
                  <a:cubicBezTo>
                    <a:pt x="298" y="829"/>
                    <a:pt x="296" y="830"/>
                    <a:pt x="296" y="831"/>
                  </a:cubicBezTo>
                  <a:cubicBezTo>
                    <a:pt x="295" y="831"/>
                    <a:pt x="293" y="830"/>
                    <a:pt x="291" y="829"/>
                  </a:cubicBezTo>
                  <a:cubicBezTo>
                    <a:pt x="290" y="829"/>
                    <a:pt x="289" y="829"/>
                    <a:pt x="289" y="829"/>
                  </a:cubicBezTo>
                  <a:close/>
                  <a:moveTo>
                    <a:pt x="317" y="787"/>
                  </a:moveTo>
                  <a:cubicBezTo>
                    <a:pt x="317" y="785"/>
                    <a:pt x="319" y="786"/>
                    <a:pt x="320" y="786"/>
                  </a:cubicBezTo>
                  <a:cubicBezTo>
                    <a:pt x="323" y="788"/>
                    <a:pt x="325" y="789"/>
                    <a:pt x="326" y="794"/>
                  </a:cubicBezTo>
                  <a:cubicBezTo>
                    <a:pt x="326" y="795"/>
                    <a:pt x="326" y="796"/>
                    <a:pt x="325" y="798"/>
                  </a:cubicBezTo>
                  <a:cubicBezTo>
                    <a:pt x="323" y="798"/>
                    <a:pt x="319" y="798"/>
                    <a:pt x="319" y="795"/>
                  </a:cubicBezTo>
                  <a:cubicBezTo>
                    <a:pt x="318" y="793"/>
                    <a:pt x="316" y="788"/>
                    <a:pt x="317" y="787"/>
                  </a:cubicBezTo>
                  <a:close/>
                  <a:moveTo>
                    <a:pt x="341" y="802"/>
                  </a:moveTo>
                  <a:cubicBezTo>
                    <a:pt x="334" y="803"/>
                    <a:pt x="319" y="845"/>
                    <a:pt x="312" y="854"/>
                  </a:cubicBezTo>
                  <a:cubicBezTo>
                    <a:pt x="308" y="861"/>
                    <a:pt x="306" y="861"/>
                    <a:pt x="303" y="858"/>
                  </a:cubicBezTo>
                  <a:cubicBezTo>
                    <a:pt x="299" y="854"/>
                    <a:pt x="294" y="836"/>
                    <a:pt x="295" y="832"/>
                  </a:cubicBezTo>
                  <a:cubicBezTo>
                    <a:pt x="296" y="833"/>
                    <a:pt x="297" y="836"/>
                    <a:pt x="297" y="837"/>
                  </a:cubicBezTo>
                  <a:cubicBezTo>
                    <a:pt x="298" y="836"/>
                    <a:pt x="297" y="836"/>
                    <a:pt x="298" y="835"/>
                  </a:cubicBezTo>
                  <a:cubicBezTo>
                    <a:pt x="299" y="838"/>
                    <a:pt x="303" y="846"/>
                    <a:pt x="304" y="847"/>
                  </a:cubicBezTo>
                  <a:cubicBezTo>
                    <a:pt x="307" y="849"/>
                    <a:pt x="308" y="844"/>
                    <a:pt x="310" y="842"/>
                  </a:cubicBezTo>
                  <a:cubicBezTo>
                    <a:pt x="314" y="834"/>
                    <a:pt x="325" y="807"/>
                    <a:pt x="329" y="799"/>
                  </a:cubicBezTo>
                  <a:cubicBezTo>
                    <a:pt x="332" y="794"/>
                    <a:pt x="334" y="789"/>
                    <a:pt x="331" y="786"/>
                  </a:cubicBezTo>
                  <a:cubicBezTo>
                    <a:pt x="320" y="780"/>
                    <a:pt x="306" y="784"/>
                    <a:pt x="296" y="778"/>
                  </a:cubicBezTo>
                  <a:cubicBezTo>
                    <a:pt x="296" y="778"/>
                    <a:pt x="296" y="778"/>
                    <a:pt x="296" y="778"/>
                  </a:cubicBezTo>
                  <a:cubicBezTo>
                    <a:pt x="302" y="776"/>
                    <a:pt x="328" y="782"/>
                    <a:pt x="328" y="782"/>
                  </a:cubicBezTo>
                  <a:cubicBezTo>
                    <a:pt x="336" y="784"/>
                    <a:pt x="346" y="792"/>
                    <a:pt x="341" y="802"/>
                  </a:cubicBezTo>
                  <a:close/>
                  <a:moveTo>
                    <a:pt x="365" y="858"/>
                  </a:moveTo>
                  <a:cubicBezTo>
                    <a:pt x="365" y="858"/>
                    <a:pt x="363" y="859"/>
                    <a:pt x="362" y="859"/>
                  </a:cubicBezTo>
                  <a:cubicBezTo>
                    <a:pt x="362" y="859"/>
                    <a:pt x="362" y="860"/>
                    <a:pt x="360" y="861"/>
                  </a:cubicBezTo>
                  <a:cubicBezTo>
                    <a:pt x="360" y="861"/>
                    <a:pt x="358" y="862"/>
                    <a:pt x="356" y="861"/>
                  </a:cubicBezTo>
                  <a:cubicBezTo>
                    <a:pt x="356" y="861"/>
                    <a:pt x="355" y="860"/>
                    <a:pt x="354" y="860"/>
                  </a:cubicBezTo>
                  <a:cubicBezTo>
                    <a:pt x="354" y="860"/>
                    <a:pt x="352" y="859"/>
                    <a:pt x="351" y="859"/>
                  </a:cubicBezTo>
                  <a:cubicBezTo>
                    <a:pt x="351" y="859"/>
                    <a:pt x="349" y="859"/>
                    <a:pt x="352" y="858"/>
                  </a:cubicBezTo>
                  <a:cubicBezTo>
                    <a:pt x="352" y="858"/>
                    <a:pt x="352" y="857"/>
                    <a:pt x="353" y="857"/>
                  </a:cubicBezTo>
                  <a:cubicBezTo>
                    <a:pt x="353" y="857"/>
                    <a:pt x="354" y="857"/>
                    <a:pt x="354" y="857"/>
                  </a:cubicBezTo>
                  <a:cubicBezTo>
                    <a:pt x="354" y="857"/>
                    <a:pt x="354" y="856"/>
                    <a:pt x="355" y="857"/>
                  </a:cubicBezTo>
                  <a:cubicBezTo>
                    <a:pt x="355" y="857"/>
                    <a:pt x="356" y="858"/>
                    <a:pt x="357" y="855"/>
                  </a:cubicBezTo>
                  <a:cubicBezTo>
                    <a:pt x="357" y="855"/>
                    <a:pt x="357" y="855"/>
                    <a:pt x="358" y="855"/>
                  </a:cubicBezTo>
                  <a:cubicBezTo>
                    <a:pt x="358" y="855"/>
                    <a:pt x="362" y="853"/>
                    <a:pt x="371" y="847"/>
                  </a:cubicBezTo>
                  <a:cubicBezTo>
                    <a:pt x="371" y="847"/>
                    <a:pt x="379" y="842"/>
                    <a:pt x="384" y="837"/>
                  </a:cubicBezTo>
                  <a:cubicBezTo>
                    <a:pt x="384" y="837"/>
                    <a:pt x="388" y="834"/>
                    <a:pt x="393" y="830"/>
                  </a:cubicBezTo>
                  <a:cubicBezTo>
                    <a:pt x="393" y="830"/>
                    <a:pt x="406" y="820"/>
                    <a:pt x="408" y="817"/>
                  </a:cubicBezTo>
                  <a:cubicBezTo>
                    <a:pt x="408" y="817"/>
                    <a:pt x="399" y="812"/>
                    <a:pt x="400" y="808"/>
                  </a:cubicBezTo>
                  <a:cubicBezTo>
                    <a:pt x="400" y="808"/>
                    <a:pt x="401" y="806"/>
                    <a:pt x="402" y="808"/>
                  </a:cubicBezTo>
                  <a:cubicBezTo>
                    <a:pt x="402" y="808"/>
                    <a:pt x="406" y="811"/>
                    <a:pt x="413" y="810"/>
                  </a:cubicBezTo>
                  <a:cubicBezTo>
                    <a:pt x="413" y="810"/>
                    <a:pt x="416" y="810"/>
                    <a:pt x="420" y="807"/>
                  </a:cubicBezTo>
                  <a:cubicBezTo>
                    <a:pt x="420" y="807"/>
                    <a:pt x="425" y="806"/>
                    <a:pt x="427" y="815"/>
                  </a:cubicBezTo>
                  <a:cubicBezTo>
                    <a:pt x="427" y="815"/>
                    <a:pt x="427" y="819"/>
                    <a:pt x="425" y="818"/>
                  </a:cubicBezTo>
                  <a:cubicBezTo>
                    <a:pt x="425" y="818"/>
                    <a:pt x="422" y="818"/>
                    <a:pt x="419" y="819"/>
                  </a:cubicBezTo>
                  <a:cubicBezTo>
                    <a:pt x="419" y="819"/>
                    <a:pt x="418" y="818"/>
                    <a:pt x="416" y="820"/>
                  </a:cubicBezTo>
                  <a:cubicBezTo>
                    <a:pt x="416" y="820"/>
                    <a:pt x="410" y="826"/>
                    <a:pt x="397" y="834"/>
                  </a:cubicBezTo>
                  <a:cubicBezTo>
                    <a:pt x="397" y="834"/>
                    <a:pt x="390" y="839"/>
                    <a:pt x="381" y="848"/>
                  </a:cubicBezTo>
                  <a:cubicBezTo>
                    <a:pt x="381" y="848"/>
                    <a:pt x="374" y="854"/>
                    <a:pt x="365" y="858"/>
                  </a:cubicBezTo>
                  <a:close/>
                  <a:moveTo>
                    <a:pt x="430" y="858"/>
                  </a:moveTo>
                  <a:cubicBezTo>
                    <a:pt x="430" y="858"/>
                    <a:pt x="430" y="859"/>
                    <a:pt x="430" y="860"/>
                  </a:cubicBezTo>
                  <a:cubicBezTo>
                    <a:pt x="430" y="860"/>
                    <a:pt x="430" y="862"/>
                    <a:pt x="427" y="862"/>
                  </a:cubicBezTo>
                  <a:cubicBezTo>
                    <a:pt x="427" y="862"/>
                    <a:pt x="420" y="864"/>
                    <a:pt x="419" y="866"/>
                  </a:cubicBezTo>
                  <a:cubicBezTo>
                    <a:pt x="419" y="866"/>
                    <a:pt x="415" y="869"/>
                    <a:pt x="416" y="872"/>
                  </a:cubicBezTo>
                  <a:cubicBezTo>
                    <a:pt x="416" y="872"/>
                    <a:pt x="416" y="874"/>
                    <a:pt x="413" y="875"/>
                  </a:cubicBezTo>
                  <a:cubicBezTo>
                    <a:pt x="413" y="875"/>
                    <a:pt x="411" y="875"/>
                    <a:pt x="409" y="875"/>
                  </a:cubicBezTo>
                  <a:cubicBezTo>
                    <a:pt x="409" y="875"/>
                    <a:pt x="407" y="873"/>
                    <a:pt x="404" y="875"/>
                  </a:cubicBezTo>
                  <a:cubicBezTo>
                    <a:pt x="404" y="875"/>
                    <a:pt x="404" y="876"/>
                    <a:pt x="402" y="875"/>
                  </a:cubicBezTo>
                  <a:cubicBezTo>
                    <a:pt x="402" y="875"/>
                    <a:pt x="402" y="874"/>
                    <a:pt x="401" y="874"/>
                  </a:cubicBezTo>
                  <a:cubicBezTo>
                    <a:pt x="401" y="874"/>
                    <a:pt x="400" y="873"/>
                    <a:pt x="400" y="872"/>
                  </a:cubicBezTo>
                  <a:cubicBezTo>
                    <a:pt x="400" y="872"/>
                    <a:pt x="400" y="870"/>
                    <a:pt x="398" y="869"/>
                  </a:cubicBezTo>
                  <a:cubicBezTo>
                    <a:pt x="398" y="869"/>
                    <a:pt x="397" y="869"/>
                    <a:pt x="397" y="867"/>
                  </a:cubicBezTo>
                  <a:cubicBezTo>
                    <a:pt x="397" y="867"/>
                    <a:pt x="396" y="861"/>
                    <a:pt x="395" y="858"/>
                  </a:cubicBezTo>
                  <a:cubicBezTo>
                    <a:pt x="395" y="858"/>
                    <a:pt x="394" y="855"/>
                    <a:pt x="391" y="854"/>
                  </a:cubicBezTo>
                  <a:cubicBezTo>
                    <a:pt x="391" y="854"/>
                    <a:pt x="387" y="848"/>
                    <a:pt x="389" y="848"/>
                  </a:cubicBezTo>
                  <a:cubicBezTo>
                    <a:pt x="389" y="848"/>
                    <a:pt x="393" y="848"/>
                    <a:pt x="396" y="854"/>
                  </a:cubicBezTo>
                  <a:cubicBezTo>
                    <a:pt x="396" y="854"/>
                    <a:pt x="396" y="856"/>
                    <a:pt x="396" y="858"/>
                  </a:cubicBezTo>
                  <a:cubicBezTo>
                    <a:pt x="396" y="858"/>
                    <a:pt x="397" y="859"/>
                    <a:pt x="399" y="866"/>
                  </a:cubicBezTo>
                  <a:cubicBezTo>
                    <a:pt x="399" y="866"/>
                    <a:pt x="400" y="867"/>
                    <a:pt x="400" y="865"/>
                  </a:cubicBezTo>
                  <a:cubicBezTo>
                    <a:pt x="402" y="863"/>
                    <a:pt x="402" y="863"/>
                    <a:pt x="402" y="863"/>
                  </a:cubicBezTo>
                  <a:cubicBezTo>
                    <a:pt x="402" y="863"/>
                    <a:pt x="403" y="861"/>
                    <a:pt x="404" y="862"/>
                  </a:cubicBezTo>
                  <a:cubicBezTo>
                    <a:pt x="404" y="862"/>
                    <a:pt x="404" y="863"/>
                    <a:pt x="405" y="862"/>
                  </a:cubicBezTo>
                  <a:cubicBezTo>
                    <a:pt x="405" y="862"/>
                    <a:pt x="408" y="860"/>
                    <a:pt x="410" y="858"/>
                  </a:cubicBezTo>
                  <a:cubicBezTo>
                    <a:pt x="410" y="858"/>
                    <a:pt x="413" y="856"/>
                    <a:pt x="412" y="855"/>
                  </a:cubicBezTo>
                  <a:cubicBezTo>
                    <a:pt x="412" y="855"/>
                    <a:pt x="409" y="851"/>
                    <a:pt x="408" y="850"/>
                  </a:cubicBezTo>
                  <a:cubicBezTo>
                    <a:pt x="408" y="850"/>
                    <a:pt x="405" y="848"/>
                    <a:pt x="407" y="848"/>
                  </a:cubicBezTo>
                  <a:cubicBezTo>
                    <a:pt x="407" y="848"/>
                    <a:pt x="408" y="848"/>
                    <a:pt x="411" y="849"/>
                  </a:cubicBezTo>
                  <a:cubicBezTo>
                    <a:pt x="411" y="849"/>
                    <a:pt x="417" y="850"/>
                    <a:pt x="419" y="848"/>
                  </a:cubicBezTo>
                  <a:cubicBezTo>
                    <a:pt x="419" y="848"/>
                    <a:pt x="419" y="846"/>
                    <a:pt x="421" y="847"/>
                  </a:cubicBezTo>
                  <a:cubicBezTo>
                    <a:pt x="421" y="847"/>
                    <a:pt x="424" y="850"/>
                    <a:pt x="425" y="850"/>
                  </a:cubicBezTo>
                  <a:cubicBezTo>
                    <a:pt x="425" y="850"/>
                    <a:pt x="431" y="852"/>
                    <a:pt x="430" y="858"/>
                  </a:cubicBezTo>
                  <a:close/>
                  <a:moveTo>
                    <a:pt x="485" y="876"/>
                  </a:moveTo>
                  <a:cubicBezTo>
                    <a:pt x="485" y="876"/>
                    <a:pt x="485" y="878"/>
                    <a:pt x="483" y="877"/>
                  </a:cubicBezTo>
                  <a:cubicBezTo>
                    <a:pt x="483" y="877"/>
                    <a:pt x="477" y="874"/>
                    <a:pt x="475" y="866"/>
                  </a:cubicBezTo>
                  <a:cubicBezTo>
                    <a:pt x="475" y="866"/>
                    <a:pt x="473" y="857"/>
                    <a:pt x="473" y="856"/>
                  </a:cubicBezTo>
                  <a:cubicBezTo>
                    <a:pt x="473" y="856"/>
                    <a:pt x="473" y="856"/>
                    <a:pt x="473" y="854"/>
                  </a:cubicBezTo>
                  <a:cubicBezTo>
                    <a:pt x="472" y="848"/>
                    <a:pt x="472" y="848"/>
                    <a:pt x="472" y="848"/>
                  </a:cubicBezTo>
                  <a:cubicBezTo>
                    <a:pt x="472" y="848"/>
                    <a:pt x="472" y="848"/>
                    <a:pt x="473" y="847"/>
                  </a:cubicBezTo>
                  <a:cubicBezTo>
                    <a:pt x="473" y="847"/>
                    <a:pt x="472" y="846"/>
                    <a:pt x="473" y="845"/>
                  </a:cubicBezTo>
                  <a:cubicBezTo>
                    <a:pt x="473" y="845"/>
                    <a:pt x="473" y="845"/>
                    <a:pt x="473" y="845"/>
                  </a:cubicBezTo>
                  <a:cubicBezTo>
                    <a:pt x="473" y="845"/>
                    <a:pt x="473" y="842"/>
                    <a:pt x="474" y="843"/>
                  </a:cubicBezTo>
                  <a:cubicBezTo>
                    <a:pt x="474" y="843"/>
                    <a:pt x="475" y="844"/>
                    <a:pt x="474" y="846"/>
                  </a:cubicBezTo>
                  <a:cubicBezTo>
                    <a:pt x="474" y="846"/>
                    <a:pt x="473" y="848"/>
                    <a:pt x="477" y="855"/>
                  </a:cubicBezTo>
                  <a:cubicBezTo>
                    <a:pt x="477" y="855"/>
                    <a:pt x="478" y="856"/>
                    <a:pt x="479" y="856"/>
                  </a:cubicBezTo>
                  <a:cubicBezTo>
                    <a:pt x="479" y="856"/>
                    <a:pt x="480" y="857"/>
                    <a:pt x="481" y="860"/>
                  </a:cubicBezTo>
                  <a:cubicBezTo>
                    <a:pt x="481" y="860"/>
                    <a:pt x="481" y="862"/>
                    <a:pt x="481" y="862"/>
                  </a:cubicBezTo>
                  <a:cubicBezTo>
                    <a:pt x="481" y="862"/>
                    <a:pt x="480" y="864"/>
                    <a:pt x="482" y="863"/>
                  </a:cubicBezTo>
                  <a:cubicBezTo>
                    <a:pt x="482" y="863"/>
                    <a:pt x="483" y="863"/>
                    <a:pt x="483" y="864"/>
                  </a:cubicBezTo>
                  <a:cubicBezTo>
                    <a:pt x="483" y="864"/>
                    <a:pt x="483" y="867"/>
                    <a:pt x="483" y="868"/>
                  </a:cubicBezTo>
                  <a:cubicBezTo>
                    <a:pt x="483" y="868"/>
                    <a:pt x="484" y="869"/>
                    <a:pt x="484" y="870"/>
                  </a:cubicBezTo>
                  <a:cubicBezTo>
                    <a:pt x="484" y="870"/>
                    <a:pt x="484" y="871"/>
                    <a:pt x="484" y="871"/>
                  </a:cubicBezTo>
                  <a:cubicBezTo>
                    <a:pt x="484" y="871"/>
                    <a:pt x="485" y="871"/>
                    <a:pt x="485" y="871"/>
                  </a:cubicBezTo>
                  <a:cubicBezTo>
                    <a:pt x="485" y="871"/>
                    <a:pt x="486" y="876"/>
                    <a:pt x="485" y="876"/>
                  </a:cubicBezTo>
                  <a:close/>
                  <a:moveTo>
                    <a:pt x="482" y="834"/>
                  </a:moveTo>
                  <a:cubicBezTo>
                    <a:pt x="482" y="834"/>
                    <a:pt x="481" y="833"/>
                    <a:pt x="480" y="833"/>
                  </a:cubicBezTo>
                  <a:cubicBezTo>
                    <a:pt x="480" y="833"/>
                    <a:pt x="479" y="833"/>
                    <a:pt x="478" y="833"/>
                  </a:cubicBezTo>
                  <a:cubicBezTo>
                    <a:pt x="478" y="833"/>
                    <a:pt x="476" y="833"/>
                    <a:pt x="477" y="831"/>
                  </a:cubicBezTo>
                  <a:cubicBezTo>
                    <a:pt x="477" y="831"/>
                    <a:pt x="479" y="827"/>
                    <a:pt x="478" y="823"/>
                  </a:cubicBezTo>
                  <a:cubicBezTo>
                    <a:pt x="478" y="823"/>
                    <a:pt x="478" y="822"/>
                    <a:pt x="479" y="821"/>
                  </a:cubicBezTo>
                  <a:cubicBezTo>
                    <a:pt x="479" y="821"/>
                    <a:pt x="479" y="820"/>
                    <a:pt x="480" y="821"/>
                  </a:cubicBezTo>
                  <a:cubicBezTo>
                    <a:pt x="480" y="821"/>
                    <a:pt x="485" y="828"/>
                    <a:pt x="485" y="832"/>
                  </a:cubicBezTo>
                  <a:cubicBezTo>
                    <a:pt x="485" y="832"/>
                    <a:pt x="486" y="835"/>
                    <a:pt x="482" y="834"/>
                  </a:cubicBezTo>
                  <a:close/>
                  <a:moveTo>
                    <a:pt x="540" y="838"/>
                  </a:moveTo>
                  <a:cubicBezTo>
                    <a:pt x="540" y="838"/>
                    <a:pt x="539" y="842"/>
                    <a:pt x="537" y="843"/>
                  </a:cubicBezTo>
                  <a:cubicBezTo>
                    <a:pt x="537" y="843"/>
                    <a:pt x="536" y="844"/>
                    <a:pt x="536" y="846"/>
                  </a:cubicBezTo>
                  <a:cubicBezTo>
                    <a:pt x="536" y="846"/>
                    <a:pt x="533" y="852"/>
                    <a:pt x="531" y="853"/>
                  </a:cubicBezTo>
                  <a:cubicBezTo>
                    <a:pt x="531" y="853"/>
                    <a:pt x="528" y="855"/>
                    <a:pt x="529" y="857"/>
                  </a:cubicBezTo>
                  <a:cubicBezTo>
                    <a:pt x="529" y="857"/>
                    <a:pt x="533" y="860"/>
                    <a:pt x="532" y="864"/>
                  </a:cubicBezTo>
                  <a:cubicBezTo>
                    <a:pt x="532" y="864"/>
                    <a:pt x="532" y="865"/>
                    <a:pt x="531" y="865"/>
                  </a:cubicBezTo>
                  <a:cubicBezTo>
                    <a:pt x="531" y="865"/>
                    <a:pt x="530" y="866"/>
                    <a:pt x="529" y="866"/>
                  </a:cubicBezTo>
                  <a:cubicBezTo>
                    <a:pt x="529" y="866"/>
                    <a:pt x="528" y="866"/>
                    <a:pt x="528" y="866"/>
                  </a:cubicBezTo>
                  <a:cubicBezTo>
                    <a:pt x="528" y="866"/>
                    <a:pt x="524" y="868"/>
                    <a:pt x="522" y="868"/>
                  </a:cubicBezTo>
                  <a:cubicBezTo>
                    <a:pt x="522" y="868"/>
                    <a:pt x="520" y="868"/>
                    <a:pt x="517" y="868"/>
                  </a:cubicBezTo>
                  <a:cubicBezTo>
                    <a:pt x="517" y="868"/>
                    <a:pt x="517" y="867"/>
                    <a:pt x="516" y="868"/>
                  </a:cubicBezTo>
                  <a:cubicBezTo>
                    <a:pt x="516" y="868"/>
                    <a:pt x="512" y="873"/>
                    <a:pt x="507" y="869"/>
                  </a:cubicBezTo>
                  <a:cubicBezTo>
                    <a:pt x="507" y="869"/>
                    <a:pt x="506" y="868"/>
                    <a:pt x="505" y="867"/>
                  </a:cubicBezTo>
                  <a:cubicBezTo>
                    <a:pt x="504" y="867"/>
                    <a:pt x="503" y="866"/>
                    <a:pt x="502" y="866"/>
                  </a:cubicBezTo>
                  <a:cubicBezTo>
                    <a:pt x="502" y="866"/>
                    <a:pt x="496" y="862"/>
                    <a:pt x="494" y="861"/>
                  </a:cubicBezTo>
                  <a:cubicBezTo>
                    <a:pt x="494" y="861"/>
                    <a:pt x="490" y="858"/>
                    <a:pt x="490" y="856"/>
                  </a:cubicBezTo>
                  <a:cubicBezTo>
                    <a:pt x="490" y="856"/>
                    <a:pt x="489" y="853"/>
                    <a:pt x="487" y="853"/>
                  </a:cubicBezTo>
                  <a:cubicBezTo>
                    <a:pt x="487" y="853"/>
                    <a:pt x="486" y="853"/>
                    <a:pt x="486" y="851"/>
                  </a:cubicBezTo>
                  <a:cubicBezTo>
                    <a:pt x="486" y="851"/>
                    <a:pt x="486" y="851"/>
                    <a:pt x="486" y="851"/>
                  </a:cubicBezTo>
                  <a:cubicBezTo>
                    <a:pt x="486" y="851"/>
                    <a:pt x="486" y="851"/>
                    <a:pt x="486" y="850"/>
                  </a:cubicBezTo>
                  <a:cubicBezTo>
                    <a:pt x="486" y="850"/>
                    <a:pt x="485" y="849"/>
                    <a:pt x="487" y="846"/>
                  </a:cubicBezTo>
                  <a:cubicBezTo>
                    <a:pt x="487" y="846"/>
                    <a:pt x="489" y="844"/>
                    <a:pt x="491" y="843"/>
                  </a:cubicBezTo>
                  <a:cubicBezTo>
                    <a:pt x="491" y="843"/>
                    <a:pt x="495" y="839"/>
                    <a:pt x="498" y="837"/>
                  </a:cubicBezTo>
                  <a:cubicBezTo>
                    <a:pt x="498" y="837"/>
                    <a:pt x="499" y="836"/>
                    <a:pt x="500" y="835"/>
                  </a:cubicBezTo>
                  <a:cubicBezTo>
                    <a:pt x="501" y="834"/>
                    <a:pt x="502" y="833"/>
                    <a:pt x="502" y="833"/>
                  </a:cubicBezTo>
                  <a:cubicBezTo>
                    <a:pt x="502" y="833"/>
                    <a:pt x="504" y="831"/>
                    <a:pt x="506" y="830"/>
                  </a:cubicBezTo>
                  <a:cubicBezTo>
                    <a:pt x="506" y="830"/>
                    <a:pt x="509" y="829"/>
                    <a:pt x="509" y="828"/>
                  </a:cubicBezTo>
                  <a:cubicBezTo>
                    <a:pt x="509" y="828"/>
                    <a:pt x="509" y="825"/>
                    <a:pt x="509" y="824"/>
                  </a:cubicBezTo>
                  <a:cubicBezTo>
                    <a:pt x="507" y="809"/>
                    <a:pt x="507" y="809"/>
                    <a:pt x="507" y="809"/>
                  </a:cubicBezTo>
                  <a:cubicBezTo>
                    <a:pt x="507" y="809"/>
                    <a:pt x="507" y="808"/>
                    <a:pt x="508" y="809"/>
                  </a:cubicBezTo>
                  <a:cubicBezTo>
                    <a:pt x="508" y="809"/>
                    <a:pt x="509" y="809"/>
                    <a:pt x="510" y="809"/>
                  </a:cubicBezTo>
                  <a:cubicBezTo>
                    <a:pt x="510" y="809"/>
                    <a:pt x="512" y="808"/>
                    <a:pt x="513" y="812"/>
                  </a:cubicBezTo>
                  <a:cubicBezTo>
                    <a:pt x="513" y="812"/>
                    <a:pt x="515" y="816"/>
                    <a:pt x="516" y="820"/>
                  </a:cubicBezTo>
                  <a:cubicBezTo>
                    <a:pt x="516" y="820"/>
                    <a:pt x="516" y="825"/>
                    <a:pt x="516" y="826"/>
                  </a:cubicBezTo>
                  <a:cubicBezTo>
                    <a:pt x="516" y="826"/>
                    <a:pt x="516" y="828"/>
                    <a:pt x="518" y="828"/>
                  </a:cubicBezTo>
                  <a:cubicBezTo>
                    <a:pt x="518" y="828"/>
                    <a:pt x="520" y="828"/>
                    <a:pt x="523" y="828"/>
                  </a:cubicBezTo>
                  <a:cubicBezTo>
                    <a:pt x="527" y="829"/>
                    <a:pt x="531" y="829"/>
                    <a:pt x="533" y="829"/>
                  </a:cubicBezTo>
                  <a:cubicBezTo>
                    <a:pt x="533" y="829"/>
                    <a:pt x="537" y="830"/>
                    <a:pt x="541" y="835"/>
                  </a:cubicBezTo>
                  <a:cubicBezTo>
                    <a:pt x="541" y="835"/>
                    <a:pt x="542" y="835"/>
                    <a:pt x="540" y="838"/>
                  </a:cubicBezTo>
                  <a:close/>
                  <a:moveTo>
                    <a:pt x="604" y="809"/>
                  </a:moveTo>
                  <a:cubicBezTo>
                    <a:pt x="604" y="809"/>
                    <a:pt x="603" y="809"/>
                    <a:pt x="603" y="811"/>
                  </a:cubicBezTo>
                  <a:cubicBezTo>
                    <a:pt x="603" y="811"/>
                    <a:pt x="602" y="814"/>
                    <a:pt x="603" y="816"/>
                  </a:cubicBezTo>
                  <a:cubicBezTo>
                    <a:pt x="603" y="816"/>
                    <a:pt x="603" y="818"/>
                    <a:pt x="602" y="821"/>
                  </a:cubicBezTo>
                  <a:cubicBezTo>
                    <a:pt x="602" y="821"/>
                    <a:pt x="598" y="826"/>
                    <a:pt x="601" y="831"/>
                  </a:cubicBezTo>
                  <a:cubicBezTo>
                    <a:pt x="601" y="831"/>
                    <a:pt x="604" y="834"/>
                    <a:pt x="601" y="836"/>
                  </a:cubicBezTo>
                  <a:cubicBezTo>
                    <a:pt x="601" y="836"/>
                    <a:pt x="600" y="837"/>
                    <a:pt x="599" y="840"/>
                  </a:cubicBezTo>
                  <a:cubicBezTo>
                    <a:pt x="599" y="840"/>
                    <a:pt x="599" y="842"/>
                    <a:pt x="599" y="842"/>
                  </a:cubicBezTo>
                  <a:cubicBezTo>
                    <a:pt x="599" y="842"/>
                    <a:pt x="598" y="844"/>
                    <a:pt x="598" y="845"/>
                  </a:cubicBezTo>
                  <a:cubicBezTo>
                    <a:pt x="598" y="845"/>
                    <a:pt x="598" y="847"/>
                    <a:pt x="595" y="848"/>
                  </a:cubicBezTo>
                  <a:cubicBezTo>
                    <a:pt x="595" y="848"/>
                    <a:pt x="593" y="850"/>
                    <a:pt x="592" y="851"/>
                  </a:cubicBezTo>
                  <a:cubicBezTo>
                    <a:pt x="592" y="851"/>
                    <a:pt x="591" y="853"/>
                    <a:pt x="590" y="853"/>
                  </a:cubicBezTo>
                  <a:cubicBezTo>
                    <a:pt x="590" y="853"/>
                    <a:pt x="590" y="853"/>
                    <a:pt x="590" y="854"/>
                  </a:cubicBezTo>
                  <a:cubicBezTo>
                    <a:pt x="590" y="854"/>
                    <a:pt x="589" y="856"/>
                    <a:pt x="586" y="857"/>
                  </a:cubicBezTo>
                  <a:cubicBezTo>
                    <a:pt x="586" y="857"/>
                    <a:pt x="586" y="850"/>
                    <a:pt x="586" y="848"/>
                  </a:cubicBezTo>
                  <a:cubicBezTo>
                    <a:pt x="586" y="848"/>
                    <a:pt x="586" y="845"/>
                    <a:pt x="586" y="843"/>
                  </a:cubicBezTo>
                  <a:cubicBezTo>
                    <a:pt x="586" y="843"/>
                    <a:pt x="586" y="840"/>
                    <a:pt x="588" y="840"/>
                  </a:cubicBezTo>
                  <a:cubicBezTo>
                    <a:pt x="588" y="840"/>
                    <a:pt x="588" y="841"/>
                    <a:pt x="588" y="840"/>
                  </a:cubicBezTo>
                  <a:cubicBezTo>
                    <a:pt x="588" y="840"/>
                    <a:pt x="590" y="836"/>
                    <a:pt x="590" y="835"/>
                  </a:cubicBezTo>
                  <a:cubicBezTo>
                    <a:pt x="590" y="835"/>
                    <a:pt x="588" y="834"/>
                    <a:pt x="588" y="834"/>
                  </a:cubicBezTo>
                  <a:cubicBezTo>
                    <a:pt x="588" y="834"/>
                    <a:pt x="587" y="833"/>
                    <a:pt x="587" y="832"/>
                  </a:cubicBezTo>
                  <a:cubicBezTo>
                    <a:pt x="587" y="832"/>
                    <a:pt x="587" y="832"/>
                    <a:pt x="586" y="831"/>
                  </a:cubicBezTo>
                  <a:cubicBezTo>
                    <a:pt x="586" y="831"/>
                    <a:pt x="584" y="830"/>
                    <a:pt x="584" y="831"/>
                  </a:cubicBezTo>
                  <a:cubicBezTo>
                    <a:pt x="584" y="831"/>
                    <a:pt x="584" y="831"/>
                    <a:pt x="582" y="831"/>
                  </a:cubicBezTo>
                  <a:cubicBezTo>
                    <a:pt x="582" y="831"/>
                    <a:pt x="573" y="829"/>
                    <a:pt x="577" y="827"/>
                  </a:cubicBezTo>
                  <a:cubicBezTo>
                    <a:pt x="577" y="827"/>
                    <a:pt x="582" y="827"/>
                    <a:pt x="585" y="822"/>
                  </a:cubicBezTo>
                  <a:cubicBezTo>
                    <a:pt x="585" y="822"/>
                    <a:pt x="586" y="822"/>
                    <a:pt x="587" y="814"/>
                  </a:cubicBezTo>
                  <a:cubicBezTo>
                    <a:pt x="587" y="814"/>
                    <a:pt x="587" y="813"/>
                    <a:pt x="586" y="813"/>
                  </a:cubicBezTo>
                  <a:cubicBezTo>
                    <a:pt x="586" y="813"/>
                    <a:pt x="585" y="812"/>
                    <a:pt x="586" y="812"/>
                  </a:cubicBezTo>
                  <a:cubicBezTo>
                    <a:pt x="586" y="812"/>
                    <a:pt x="586" y="811"/>
                    <a:pt x="585" y="810"/>
                  </a:cubicBezTo>
                  <a:cubicBezTo>
                    <a:pt x="585" y="810"/>
                    <a:pt x="584" y="809"/>
                    <a:pt x="585" y="808"/>
                  </a:cubicBezTo>
                  <a:cubicBezTo>
                    <a:pt x="585" y="808"/>
                    <a:pt x="585" y="807"/>
                    <a:pt x="584" y="806"/>
                  </a:cubicBezTo>
                  <a:cubicBezTo>
                    <a:pt x="584" y="806"/>
                    <a:pt x="584" y="806"/>
                    <a:pt x="584" y="805"/>
                  </a:cubicBezTo>
                  <a:cubicBezTo>
                    <a:pt x="584" y="805"/>
                    <a:pt x="584" y="805"/>
                    <a:pt x="583" y="803"/>
                  </a:cubicBezTo>
                  <a:cubicBezTo>
                    <a:pt x="583" y="803"/>
                    <a:pt x="583" y="803"/>
                    <a:pt x="584" y="802"/>
                  </a:cubicBezTo>
                  <a:cubicBezTo>
                    <a:pt x="584" y="802"/>
                    <a:pt x="585" y="803"/>
                    <a:pt x="584" y="801"/>
                  </a:cubicBezTo>
                  <a:cubicBezTo>
                    <a:pt x="584" y="801"/>
                    <a:pt x="583" y="800"/>
                    <a:pt x="582" y="799"/>
                  </a:cubicBezTo>
                  <a:cubicBezTo>
                    <a:pt x="581" y="798"/>
                    <a:pt x="581" y="798"/>
                    <a:pt x="581" y="798"/>
                  </a:cubicBezTo>
                  <a:cubicBezTo>
                    <a:pt x="577" y="791"/>
                    <a:pt x="577" y="791"/>
                    <a:pt x="577" y="791"/>
                  </a:cubicBezTo>
                  <a:cubicBezTo>
                    <a:pt x="577" y="791"/>
                    <a:pt x="574" y="788"/>
                    <a:pt x="578" y="789"/>
                  </a:cubicBezTo>
                  <a:cubicBezTo>
                    <a:pt x="578" y="789"/>
                    <a:pt x="581" y="788"/>
                    <a:pt x="584" y="789"/>
                  </a:cubicBezTo>
                  <a:cubicBezTo>
                    <a:pt x="584" y="789"/>
                    <a:pt x="587" y="789"/>
                    <a:pt x="589" y="789"/>
                  </a:cubicBezTo>
                  <a:cubicBezTo>
                    <a:pt x="589" y="789"/>
                    <a:pt x="590" y="788"/>
                    <a:pt x="591" y="792"/>
                  </a:cubicBezTo>
                  <a:cubicBezTo>
                    <a:pt x="591" y="792"/>
                    <a:pt x="593" y="795"/>
                    <a:pt x="593" y="795"/>
                  </a:cubicBezTo>
                  <a:cubicBezTo>
                    <a:pt x="593" y="795"/>
                    <a:pt x="598" y="796"/>
                    <a:pt x="599" y="797"/>
                  </a:cubicBezTo>
                  <a:cubicBezTo>
                    <a:pt x="599" y="797"/>
                    <a:pt x="599" y="797"/>
                    <a:pt x="599" y="796"/>
                  </a:cubicBezTo>
                  <a:cubicBezTo>
                    <a:pt x="599" y="796"/>
                    <a:pt x="601" y="796"/>
                    <a:pt x="603" y="798"/>
                  </a:cubicBezTo>
                  <a:cubicBezTo>
                    <a:pt x="603" y="798"/>
                    <a:pt x="602" y="800"/>
                    <a:pt x="604" y="799"/>
                  </a:cubicBezTo>
                  <a:cubicBezTo>
                    <a:pt x="604" y="799"/>
                    <a:pt x="606" y="799"/>
                    <a:pt x="606" y="802"/>
                  </a:cubicBezTo>
                  <a:cubicBezTo>
                    <a:pt x="606" y="802"/>
                    <a:pt x="607" y="806"/>
                    <a:pt x="604" y="809"/>
                  </a:cubicBezTo>
                  <a:close/>
                  <a:moveTo>
                    <a:pt x="632" y="834"/>
                  </a:moveTo>
                  <a:cubicBezTo>
                    <a:pt x="632" y="834"/>
                    <a:pt x="631" y="837"/>
                    <a:pt x="628" y="838"/>
                  </a:cubicBezTo>
                  <a:cubicBezTo>
                    <a:pt x="628" y="838"/>
                    <a:pt x="626" y="839"/>
                    <a:pt x="624" y="839"/>
                  </a:cubicBezTo>
                  <a:cubicBezTo>
                    <a:pt x="624" y="839"/>
                    <a:pt x="622" y="839"/>
                    <a:pt x="622" y="838"/>
                  </a:cubicBezTo>
                  <a:cubicBezTo>
                    <a:pt x="622" y="838"/>
                    <a:pt x="621" y="838"/>
                    <a:pt x="620" y="839"/>
                  </a:cubicBezTo>
                  <a:cubicBezTo>
                    <a:pt x="620" y="839"/>
                    <a:pt x="619" y="839"/>
                    <a:pt x="618" y="837"/>
                  </a:cubicBezTo>
                  <a:cubicBezTo>
                    <a:pt x="618" y="837"/>
                    <a:pt x="616" y="836"/>
                    <a:pt x="616" y="834"/>
                  </a:cubicBezTo>
                  <a:cubicBezTo>
                    <a:pt x="616" y="834"/>
                    <a:pt x="616" y="831"/>
                    <a:pt x="615" y="829"/>
                  </a:cubicBezTo>
                  <a:cubicBezTo>
                    <a:pt x="615" y="829"/>
                    <a:pt x="613" y="824"/>
                    <a:pt x="616" y="825"/>
                  </a:cubicBezTo>
                  <a:cubicBezTo>
                    <a:pt x="616" y="825"/>
                    <a:pt x="617" y="825"/>
                    <a:pt x="619" y="824"/>
                  </a:cubicBezTo>
                  <a:cubicBezTo>
                    <a:pt x="619" y="824"/>
                    <a:pt x="622" y="825"/>
                    <a:pt x="626" y="826"/>
                  </a:cubicBezTo>
                  <a:cubicBezTo>
                    <a:pt x="626" y="826"/>
                    <a:pt x="629" y="828"/>
                    <a:pt x="630" y="828"/>
                  </a:cubicBezTo>
                  <a:cubicBezTo>
                    <a:pt x="630" y="828"/>
                    <a:pt x="632" y="828"/>
                    <a:pt x="632" y="831"/>
                  </a:cubicBezTo>
                  <a:cubicBezTo>
                    <a:pt x="632" y="831"/>
                    <a:pt x="632" y="832"/>
                    <a:pt x="632" y="833"/>
                  </a:cubicBezTo>
                  <a:cubicBezTo>
                    <a:pt x="632" y="833"/>
                    <a:pt x="632" y="834"/>
                    <a:pt x="632" y="834"/>
                  </a:cubicBezTo>
                  <a:close/>
                  <a:moveTo>
                    <a:pt x="667" y="773"/>
                  </a:moveTo>
                  <a:cubicBezTo>
                    <a:pt x="667" y="773"/>
                    <a:pt x="665" y="772"/>
                    <a:pt x="664" y="772"/>
                  </a:cubicBezTo>
                  <a:cubicBezTo>
                    <a:pt x="664" y="772"/>
                    <a:pt x="662" y="770"/>
                    <a:pt x="662" y="773"/>
                  </a:cubicBezTo>
                  <a:cubicBezTo>
                    <a:pt x="662" y="773"/>
                    <a:pt x="656" y="778"/>
                    <a:pt x="656" y="783"/>
                  </a:cubicBezTo>
                  <a:cubicBezTo>
                    <a:pt x="656" y="783"/>
                    <a:pt x="656" y="784"/>
                    <a:pt x="657" y="785"/>
                  </a:cubicBezTo>
                  <a:cubicBezTo>
                    <a:pt x="657" y="785"/>
                    <a:pt x="657" y="788"/>
                    <a:pt x="656" y="789"/>
                  </a:cubicBezTo>
                  <a:cubicBezTo>
                    <a:pt x="656" y="789"/>
                    <a:pt x="656" y="792"/>
                    <a:pt x="655" y="793"/>
                  </a:cubicBezTo>
                  <a:cubicBezTo>
                    <a:pt x="655" y="793"/>
                    <a:pt x="654" y="793"/>
                    <a:pt x="653" y="794"/>
                  </a:cubicBezTo>
                  <a:cubicBezTo>
                    <a:pt x="653" y="794"/>
                    <a:pt x="653" y="794"/>
                    <a:pt x="652" y="794"/>
                  </a:cubicBezTo>
                  <a:cubicBezTo>
                    <a:pt x="652" y="794"/>
                    <a:pt x="647" y="794"/>
                    <a:pt x="648" y="791"/>
                  </a:cubicBezTo>
                  <a:cubicBezTo>
                    <a:pt x="648" y="791"/>
                    <a:pt x="648" y="787"/>
                    <a:pt x="648" y="785"/>
                  </a:cubicBezTo>
                  <a:cubicBezTo>
                    <a:pt x="648" y="785"/>
                    <a:pt x="646" y="782"/>
                    <a:pt x="649" y="781"/>
                  </a:cubicBezTo>
                  <a:cubicBezTo>
                    <a:pt x="649" y="781"/>
                    <a:pt x="651" y="780"/>
                    <a:pt x="652" y="780"/>
                  </a:cubicBezTo>
                  <a:cubicBezTo>
                    <a:pt x="652" y="780"/>
                    <a:pt x="653" y="780"/>
                    <a:pt x="654" y="779"/>
                  </a:cubicBezTo>
                  <a:cubicBezTo>
                    <a:pt x="654" y="779"/>
                    <a:pt x="659" y="773"/>
                    <a:pt x="661" y="770"/>
                  </a:cubicBezTo>
                  <a:cubicBezTo>
                    <a:pt x="661" y="770"/>
                    <a:pt x="662" y="769"/>
                    <a:pt x="660" y="767"/>
                  </a:cubicBezTo>
                  <a:cubicBezTo>
                    <a:pt x="660" y="767"/>
                    <a:pt x="654" y="762"/>
                    <a:pt x="650" y="760"/>
                  </a:cubicBezTo>
                  <a:cubicBezTo>
                    <a:pt x="650" y="760"/>
                    <a:pt x="645" y="758"/>
                    <a:pt x="642" y="759"/>
                  </a:cubicBezTo>
                  <a:cubicBezTo>
                    <a:pt x="642" y="759"/>
                    <a:pt x="634" y="758"/>
                    <a:pt x="640" y="756"/>
                  </a:cubicBezTo>
                  <a:cubicBezTo>
                    <a:pt x="640" y="756"/>
                    <a:pt x="645" y="754"/>
                    <a:pt x="654" y="760"/>
                  </a:cubicBezTo>
                  <a:cubicBezTo>
                    <a:pt x="654" y="760"/>
                    <a:pt x="660" y="764"/>
                    <a:pt x="661" y="767"/>
                  </a:cubicBezTo>
                  <a:cubicBezTo>
                    <a:pt x="661" y="767"/>
                    <a:pt x="662" y="768"/>
                    <a:pt x="663" y="767"/>
                  </a:cubicBezTo>
                  <a:cubicBezTo>
                    <a:pt x="663" y="767"/>
                    <a:pt x="666" y="765"/>
                    <a:pt x="664" y="763"/>
                  </a:cubicBezTo>
                  <a:cubicBezTo>
                    <a:pt x="664" y="763"/>
                    <a:pt x="661" y="757"/>
                    <a:pt x="650" y="750"/>
                  </a:cubicBezTo>
                  <a:cubicBezTo>
                    <a:pt x="650" y="750"/>
                    <a:pt x="646" y="747"/>
                    <a:pt x="644" y="748"/>
                  </a:cubicBezTo>
                  <a:cubicBezTo>
                    <a:pt x="644" y="748"/>
                    <a:pt x="642" y="747"/>
                    <a:pt x="644" y="747"/>
                  </a:cubicBezTo>
                  <a:cubicBezTo>
                    <a:pt x="644" y="747"/>
                    <a:pt x="649" y="745"/>
                    <a:pt x="656" y="750"/>
                  </a:cubicBezTo>
                  <a:cubicBezTo>
                    <a:pt x="656" y="750"/>
                    <a:pt x="661" y="754"/>
                    <a:pt x="664" y="758"/>
                  </a:cubicBezTo>
                  <a:cubicBezTo>
                    <a:pt x="664" y="758"/>
                    <a:pt x="666" y="760"/>
                    <a:pt x="665" y="758"/>
                  </a:cubicBezTo>
                  <a:cubicBezTo>
                    <a:pt x="665" y="758"/>
                    <a:pt x="664" y="756"/>
                    <a:pt x="665" y="755"/>
                  </a:cubicBezTo>
                  <a:cubicBezTo>
                    <a:pt x="665" y="755"/>
                    <a:pt x="665" y="755"/>
                    <a:pt x="665" y="754"/>
                  </a:cubicBezTo>
                  <a:cubicBezTo>
                    <a:pt x="665" y="754"/>
                    <a:pt x="664" y="753"/>
                    <a:pt x="664" y="752"/>
                  </a:cubicBezTo>
                  <a:cubicBezTo>
                    <a:pt x="664" y="752"/>
                    <a:pt x="665" y="752"/>
                    <a:pt x="663" y="752"/>
                  </a:cubicBezTo>
                  <a:cubicBezTo>
                    <a:pt x="663" y="752"/>
                    <a:pt x="662" y="751"/>
                    <a:pt x="661" y="751"/>
                  </a:cubicBezTo>
                  <a:cubicBezTo>
                    <a:pt x="661" y="751"/>
                    <a:pt x="656" y="751"/>
                    <a:pt x="660" y="750"/>
                  </a:cubicBezTo>
                  <a:cubicBezTo>
                    <a:pt x="660" y="750"/>
                    <a:pt x="661" y="750"/>
                    <a:pt x="663" y="750"/>
                  </a:cubicBezTo>
                  <a:cubicBezTo>
                    <a:pt x="663" y="750"/>
                    <a:pt x="664" y="750"/>
                    <a:pt x="663" y="749"/>
                  </a:cubicBezTo>
                  <a:cubicBezTo>
                    <a:pt x="663" y="749"/>
                    <a:pt x="661" y="745"/>
                    <a:pt x="661" y="744"/>
                  </a:cubicBezTo>
                  <a:cubicBezTo>
                    <a:pt x="661" y="744"/>
                    <a:pt x="660" y="742"/>
                    <a:pt x="660" y="744"/>
                  </a:cubicBezTo>
                  <a:cubicBezTo>
                    <a:pt x="660" y="744"/>
                    <a:pt x="659" y="746"/>
                    <a:pt x="656" y="744"/>
                  </a:cubicBezTo>
                  <a:cubicBezTo>
                    <a:pt x="656" y="744"/>
                    <a:pt x="651" y="744"/>
                    <a:pt x="651" y="741"/>
                  </a:cubicBezTo>
                  <a:cubicBezTo>
                    <a:pt x="651" y="741"/>
                    <a:pt x="652" y="737"/>
                    <a:pt x="649" y="737"/>
                  </a:cubicBezTo>
                  <a:cubicBezTo>
                    <a:pt x="649" y="737"/>
                    <a:pt x="646" y="736"/>
                    <a:pt x="649" y="735"/>
                  </a:cubicBezTo>
                  <a:cubicBezTo>
                    <a:pt x="649" y="735"/>
                    <a:pt x="652" y="734"/>
                    <a:pt x="656" y="735"/>
                  </a:cubicBezTo>
                  <a:cubicBezTo>
                    <a:pt x="656" y="735"/>
                    <a:pt x="656" y="736"/>
                    <a:pt x="658" y="735"/>
                  </a:cubicBezTo>
                  <a:cubicBezTo>
                    <a:pt x="658" y="735"/>
                    <a:pt x="667" y="731"/>
                    <a:pt x="668" y="737"/>
                  </a:cubicBezTo>
                  <a:cubicBezTo>
                    <a:pt x="668" y="737"/>
                    <a:pt x="667" y="741"/>
                    <a:pt x="669" y="744"/>
                  </a:cubicBezTo>
                  <a:cubicBezTo>
                    <a:pt x="669" y="744"/>
                    <a:pt x="669" y="746"/>
                    <a:pt x="669" y="747"/>
                  </a:cubicBezTo>
                  <a:cubicBezTo>
                    <a:pt x="669" y="747"/>
                    <a:pt x="669" y="748"/>
                    <a:pt x="670" y="750"/>
                  </a:cubicBezTo>
                  <a:cubicBezTo>
                    <a:pt x="670" y="750"/>
                    <a:pt x="671" y="750"/>
                    <a:pt x="670" y="751"/>
                  </a:cubicBezTo>
                  <a:cubicBezTo>
                    <a:pt x="670" y="751"/>
                    <a:pt x="670" y="753"/>
                    <a:pt x="670" y="755"/>
                  </a:cubicBezTo>
                  <a:cubicBezTo>
                    <a:pt x="670" y="755"/>
                    <a:pt x="669" y="758"/>
                    <a:pt x="671" y="756"/>
                  </a:cubicBezTo>
                  <a:cubicBezTo>
                    <a:pt x="671" y="756"/>
                    <a:pt x="676" y="749"/>
                    <a:pt x="678" y="746"/>
                  </a:cubicBezTo>
                  <a:cubicBezTo>
                    <a:pt x="678" y="746"/>
                    <a:pt x="680" y="744"/>
                    <a:pt x="677" y="744"/>
                  </a:cubicBezTo>
                  <a:cubicBezTo>
                    <a:pt x="677" y="744"/>
                    <a:pt x="674" y="743"/>
                    <a:pt x="672" y="742"/>
                  </a:cubicBezTo>
                  <a:cubicBezTo>
                    <a:pt x="672" y="742"/>
                    <a:pt x="670" y="741"/>
                    <a:pt x="672" y="740"/>
                  </a:cubicBezTo>
                  <a:cubicBezTo>
                    <a:pt x="672" y="740"/>
                    <a:pt x="674" y="741"/>
                    <a:pt x="674" y="740"/>
                  </a:cubicBezTo>
                  <a:cubicBezTo>
                    <a:pt x="674" y="740"/>
                    <a:pt x="673" y="739"/>
                    <a:pt x="674" y="739"/>
                  </a:cubicBezTo>
                  <a:cubicBezTo>
                    <a:pt x="674" y="739"/>
                    <a:pt x="676" y="739"/>
                    <a:pt x="676" y="737"/>
                  </a:cubicBezTo>
                  <a:cubicBezTo>
                    <a:pt x="676" y="737"/>
                    <a:pt x="675" y="734"/>
                    <a:pt x="674" y="735"/>
                  </a:cubicBezTo>
                  <a:cubicBezTo>
                    <a:pt x="674" y="735"/>
                    <a:pt x="670" y="735"/>
                    <a:pt x="669" y="733"/>
                  </a:cubicBezTo>
                  <a:cubicBezTo>
                    <a:pt x="669" y="733"/>
                    <a:pt x="667" y="732"/>
                    <a:pt x="667" y="731"/>
                  </a:cubicBezTo>
                  <a:cubicBezTo>
                    <a:pt x="667" y="731"/>
                    <a:pt x="667" y="730"/>
                    <a:pt x="669" y="731"/>
                  </a:cubicBezTo>
                  <a:cubicBezTo>
                    <a:pt x="669" y="731"/>
                    <a:pt x="673" y="733"/>
                    <a:pt x="671" y="730"/>
                  </a:cubicBezTo>
                  <a:cubicBezTo>
                    <a:pt x="669" y="728"/>
                    <a:pt x="669" y="728"/>
                    <a:pt x="669" y="728"/>
                  </a:cubicBezTo>
                  <a:cubicBezTo>
                    <a:pt x="669" y="728"/>
                    <a:pt x="669" y="726"/>
                    <a:pt x="666" y="728"/>
                  </a:cubicBezTo>
                  <a:cubicBezTo>
                    <a:pt x="666" y="728"/>
                    <a:pt x="660" y="729"/>
                    <a:pt x="662" y="727"/>
                  </a:cubicBezTo>
                  <a:cubicBezTo>
                    <a:pt x="662" y="727"/>
                    <a:pt x="664" y="726"/>
                    <a:pt x="663" y="725"/>
                  </a:cubicBezTo>
                  <a:cubicBezTo>
                    <a:pt x="663" y="725"/>
                    <a:pt x="663" y="724"/>
                    <a:pt x="665" y="723"/>
                  </a:cubicBezTo>
                  <a:cubicBezTo>
                    <a:pt x="665" y="723"/>
                    <a:pt x="666" y="722"/>
                    <a:pt x="665" y="721"/>
                  </a:cubicBezTo>
                  <a:cubicBezTo>
                    <a:pt x="665" y="721"/>
                    <a:pt x="665" y="721"/>
                    <a:pt x="668" y="720"/>
                  </a:cubicBezTo>
                  <a:cubicBezTo>
                    <a:pt x="668" y="720"/>
                    <a:pt x="676" y="717"/>
                    <a:pt x="677" y="721"/>
                  </a:cubicBezTo>
                  <a:cubicBezTo>
                    <a:pt x="677" y="721"/>
                    <a:pt x="678" y="723"/>
                    <a:pt x="677" y="725"/>
                  </a:cubicBezTo>
                  <a:cubicBezTo>
                    <a:pt x="677" y="725"/>
                    <a:pt x="676" y="725"/>
                    <a:pt x="677" y="729"/>
                  </a:cubicBezTo>
                  <a:cubicBezTo>
                    <a:pt x="677" y="729"/>
                    <a:pt x="677" y="731"/>
                    <a:pt x="679" y="732"/>
                  </a:cubicBezTo>
                  <a:cubicBezTo>
                    <a:pt x="679" y="732"/>
                    <a:pt x="680" y="734"/>
                    <a:pt x="681" y="736"/>
                  </a:cubicBezTo>
                  <a:cubicBezTo>
                    <a:pt x="681" y="736"/>
                    <a:pt x="683" y="739"/>
                    <a:pt x="683" y="740"/>
                  </a:cubicBezTo>
                  <a:cubicBezTo>
                    <a:pt x="683" y="740"/>
                    <a:pt x="683" y="742"/>
                    <a:pt x="684" y="741"/>
                  </a:cubicBezTo>
                  <a:cubicBezTo>
                    <a:pt x="684" y="741"/>
                    <a:pt x="692" y="731"/>
                    <a:pt x="698" y="734"/>
                  </a:cubicBezTo>
                  <a:cubicBezTo>
                    <a:pt x="698" y="734"/>
                    <a:pt x="701" y="733"/>
                    <a:pt x="697" y="738"/>
                  </a:cubicBezTo>
                  <a:cubicBezTo>
                    <a:pt x="697" y="738"/>
                    <a:pt x="696" y="740"/>
                    <a:pt x="695" y="740"/>
                  </a:cubicBezTo>
                  <a:cubicBezTo>
                    <a:pt x="688" y="743"/>
                    <a:pt x="688" y="743"/>
                    <a:pt x="688" y="743"/>
                  </a:cubicBezTo>
                  <a:cubicBezTo>
                    <a:pt x="688" y="743"/>
                    <a:pt x="686" y="744"/>
                    <a:pt x="689" y="742"/>
                  </a:cubicBezTo>
                  <a:cubicBezTo>
                    <a:pt x="689" y="742"/>
                    <a:pt x="692" y="739"/>
                    <a:pt x="692" y="738"/>
                  </a:cubicBezTo>
                  <a:cubicBezTo>
                    <a:pt x="692" y="738"/>
                    <a:pt x="692" y="736"/>
                    <a:pt x="691" y="738"/>
                  </a:cubicBezTo>
                  <a:cubicBezTo>
                    <a:pt x="691" y="738"/>
                    <a:pt x="687" y="741"/>
                    <a:pt x="686" y="742"/>
                  </a:cubicBezTo>
                  <a:cubicBezTo>
                    <a:pt x="686" y="742"/>
                    <a:pt x="684" y="743"/>
                    <a:pt x="685" y="745"/>
                  </a:cubicBezTo>
                  <a:cubicBezTo>
                    <a:pt x="685" y="745"/>
                    <a:pt x="685" y="746"/>
                    <a:pt x="685" y="746"/>
                  </a:cubicBezTo>
                  <a:cubicBezTo>
                    <a:pt x="685" y="746"/>
                    <a:pt x="685" y="747"/>
                    <a:pt x="685" y="747"/>
                  </a:cubicBezTo>
                  <a:cubicBezTo>
                    <a:pt x="685" y="747"/>
                    <a:pt x="687" y="751"/>
                    <a:pt x="684" y="751"/>
                  </a:cubicBezTo>
                  <a:cubicBezTo>
                    <a:pt x="684" y="751"/>
                    <a:pt x="681" y="751"/>
                    <a:pt x="680" y="749"/>
                  </a:cubicBezTo>
                  <a:cubicBezTo>
                    <a:pt x="680" y="749"/>
                    <a:pt x="679" y="747"/>
                    <a:pt x="678" y="750"/>
                  </a:cubicBezTo>
                  <a:cubicBezTo>
                    <a:pt x="678" y="750"/>
                    <a:pt x="675" y="755"/>
                    <a:pt x="673" y="757"/>
                  </a:cubicBezTo>
                  <a:cubicBezTo>
                    <a:pt x="673" y="757"/>
                    <a:pt x="668" y="762"/>
                    <a:pt x="669" y="763"/>
                  </a:cubicBezTo>
                  <a:cubicBezTo>
                    <a:pt x="669" y="763"/>
                    <a:pt x="671" y="765"/>
                    <a:pt x="670" y="765"/>
                  </a:cubicBezTo>
                  <a:cubicBezTo>
                    <a:pt x="670" y="765"/>
                    <a:pt x="669" y="766"/>
                    <a:pt x="667" y="765"/>
                  </a:cubicBezTo>
                  <a:cubicBezTo>
                    <a:pt x="667" y="765"/>
                    <a:pt x="667" y="765"/>
                    <a:pt x="666" y="767"/>
                  </a:cubicBezTo>
                  <a:cubicBezTo>
                    <a:pt x="666" y="767"/>
                    <a:pt x="663" y="770"/>
                    <a:pt x="665" y="771"/>
                  </a:cubicBezTo>
                  <a:cubicBezTo>
                    <a:pt x="665" y="771"/>
                    <a:pt x="666" y="771"/>
                    <a:pt x="667" y="772"/>
                  </a:cubicBezTo>
                  <a:cubicBezTo>
                    <a:pt x="667" y="772"/>
                    <a:pt x="669" y="772"/>
                    <a:pt x="667" y="773"/>
                  </a:cubicBezTo>
                  <a:close/>
                  <a:moveTo>
                    <a:pt x="706" y="796"/>
                  </a:moveTo>
                  <a:cubicBezTo>
                    <a:pt x="706" y="796"/>
                    <a:pt x="706" y="797"/>
                    <a:pt x="706" y="799"/>
                  </a:cubicBezTo>
                  <a:cubicBezTo>
                    <a:pt x="706" y="799"/>
                    <a:pt x="706" y="800"/>
                    <a:pt x="705" y="801"/>
                  </a:cubicBezTo>
                  <a:cubicBezTo>
                    <a:pt x="695" y="808"/>
                    <a:pt x="695" y="808"/>
                    <a:pt x="695" y="808"/>
                  </a:cubicBezTo>
                  <a:cubicBezTo>
                    <a:pt x="695" y="808"/>
                    <a:pt x="694" y="807"/>
                    <a:pt x="693" y="809"/>
                  </a:cubicBezTo>
                  <a:cubicBezTo>
                    <a:pt x="693" y="809"/>
                    <a:pt x="693" y="808"/>
                    <a:pt x="692" y="808"/>
                  </a:cubicBezTo>
                  <a:cubicBezTo>
                    <a:pt x="692" y="808"/>
                    <a:pt x="692" y="808"/>
                    <a:pt x="692" y="809"/>
                  </a:cubicBezTo>
                  <a:cubicBezTo>
                    <a:pt x="692" y="809"/>
                    <a:pt x="690" y="808"/>
                    <a:pt x="690" y="809"/>
                  </a:cubicBezTo>
                  <a:cubicBezTo>
                    <a:pt x="684" y="810"/>
                    <a:pt x="684" y="810"/>
                    <a:pt x="684" y="810"/>
                  </a:cubicBezTo>
                  <a:cubicBezTo>
                    <a:pt x="684" y="810"/>
                    <a:pt x="682" y="810"/>
                    <a:pt x="685" y="809"/>
                  </a:cubicBezTo>
                  <a:cubicBezTo>
                    <a:pt x="685" y="809"/>
                    <a:pt x="692" y="807"/>
                    <a:pt x="688" y="807"/>
                  </a:cubicBezTo>
                  <a:cubicBezTo>
                    <a:pt x="688" y="807"/>
                    <a:pt x="686" y="806"/>
                    <a:pt x="688" y="806"/>
                  </a:cubicBezTo>
                  <a:cubicBezTo>
                    <a:pt x="688" y="806"/>
                    <a:pt x="695" y="801"/>
                    <a:pt x="697" y="796"/>
                  </a:cubicBezTo>
                  <a:cubicBezTo>
                    <a:pt x="697" y="796"/>
                    <a:pt x="704" y="785"/>
                    <a:pt x="695" y="779"/>
                  </a:cubicBezTo>
                  <a:cubicBezTo>
                    <a:pt x="695" y="779"/>
                    <a:pt x="691" y="779"/>
                    <a:pt x="688" y="784"/>
                  </a:cubicBezTo>
                  <a:cubicBezTo>
                    <a:pt x="688" y="784"/>
                    <a:pt x="686" y="789"/>
                    <a:pt x="683" y="790"/>
                  </a:cubicBezTo>
                  <a:cubicBezTo>
                    <a:pt x="683" y="790"/>
                    <a:pt x="678" y="789"/>
                    <a:pt x="675" y="787"/>
                  </a:cubicBezTo>
                  <a:cubicBezTo>
                    <a:pt x="675" y="787"/>
                    <a:pt x="672" y="786"/>
                    <a:pt x="675" y="786"/>
                  </a:cubicBezTo>
                  <a:cubicBezTo>
                    <a:pt x="675" y="786"/>
                    <a:pt x="676" y="786"/>
                    <a:pt x="678" y="784"/>
                  </a:cubicBezTo>
                  <a:cubicBezTo>
                    <a:pt x="678" y="784"/>
                    <a:pt x="681" y="783"/>
                    <a:pt x="681" y="782"/>
                  </a:cubicBezTo>
                  <a:cubicBezTo>
                    <a:pt x="681" y="782"/>
                    <a:pt x="683" y="779"/>
                    <a:pt x="685" y="777"/>
                  </a:cubicBezTo>
                  <a:cubicBezTo>
                    <a:pt x="685" y="777"/>
                    <a:pt x="688" y="775"/>
                    <a:pt x="689" y="773"/>
                  </a:cubicBezTo>
                  <a:cubicBezTo>
                    <a:pt x="689" y="773"/>
                    <a:pt x="689" y="771"/>
                    <a:pt x="687" y="772"/>
                  </a:cubicBezTo>
                  <a:cubicBezTo>
                    <a:pt x="687" y="772"/>
                    <a:pt x="683" y="776"/>
                    <a:pt x="679" y="769"/>
                  </a:cubicBezTo>
                  <a:cubicBezTo>
                    <a:pt x="679" y="769"/>
                    <a:pt x="679" y="761"/>
                    <a:pt x="678" y="764"/>
                  </a:cubicBezTo>
                  <a:cubicBezTo>
                    <a:pt x="678" y="764"/>
                    <a:pt x="676" y="769"/>
                    <a:pt x="673" y="770"/>
                  </a:cubicBezTo>
                  <a:cubicBezTo>
                    <a:pt x="673" y="770"/>
                    <a:pt x="671" y="771"/>
                    <a:pt x="669" y="770"/>
                  </a:cubicBezTo>
                  <a:cubicBezTo>
                    <a:pt x="669" y="770"/>
                    <a:pt x="666" y="769"/>
                    <a:pt x="669" y="769"/>
                  </a:cubicBezTo>
                  <a:cubicBezTo>
                    <a:pt x="669" y="769"/>
                    <a:pt x="672" y="768"/>
                    <a:pt x="674" y="764"/>
                  </a:cubicBezTo>
                  <a:cubicBezTo>
                    <a:pt x="674" y="764"/>
                    <a:pt x="676" y="761"/>
                    <a:pt x="676" y="759"/>
                  </a:cubicBezTo>
                  <a:cubicBezTo>
                    <a:pt x="676" y="759"/>
                    <a:pt x="675" y="758"/>
                    <a:pt x="678" y="757"/>
                  </a:cubicBezTo>
                  <a:cubicBezTo>
                    <a:pt x="678" y="757"/>
                    <a:pt x="684" y="752"/>
                    <a:pt x="688" y="755"/>
                  </a:cubicBezTo>
                  <a:cubicBezTo>
                    <a:pt x="688" y="755"/>
                    <a:pt x="689" y="757"/>
                    <a:pt x="688" y="760"/>
                  </a:cubicBezTo>
                  <a:cubicBezTo>
                    <a:pt x="688" y="760"/>
                    <a:pt x="687" y="762"/>
                    <a:pt x="690" y="765"/>
                  </a:cubicBezTo>
                  <a:cubicBezTo>
                    <a:pt x="690" y="765"/>
                    <a:pt x="694" y="767"/>
                    <a:pt x="695" y="766"/>
                  </a:cubicBezTo>
                  <a:cubicBezTo>
                    <a:pt x="695" y="766"/>
                    <a:pt x="700" y="762"/>
                    <a:pt x="702" y="763"/>
                  </a:cubicBezTo>
                  <a:cubicBezTo>
                    <a:pt x="702" y="763"/>
                    <a:pt x="706" y="763"/>
                    <a:pt x="705" y="766"/>
                  </a:cubicBezTo>
                  <a:cubicBezTo>
                    <a:pt x="705" y="766"/>
                    <a:pt x="704" y="768"/>
                    <a:pt x="704" y="769"/>
                  </a:cubicBezTo>
                  <a:cubicBezTo>
                    <a:pt x="704" y="769"/>
                    <a:pt x="704" y="769"/>
                    <a:pt x="702" y="770"/>
                  </a:cubicBezTo>
                  <a:cubicBezTo>
                    <a:pt x="702" y="770"/>
                    <a:pt x="699" y="772"/>
                    <a:pt x="702" y="775"/>
                  </a:cubicBezTo>
                  <a:cubicBezTo>
                    <a:pt x="707" y="782"/>
                    <a:pt x="707" y="782"/>
                    <a:pt x="707" y="782"/>
                  </a:cubicBezTo>
                  <a:cubicBezTo>
                    <a:pt x="707" y="782"/>
                    <a:pt x="709" y="788"/>
                    <a:pt x="708" y="793"/>
                  </a:cubicBezTo>
                  <a:cubicBezTo>
                    <a:pt x="708" y="793"/>
                    <a:pt x="707" y="795"/>
                    <a:pt x="706" y="796"/>
                  </a:cubicBezTo>
                  <a:close/>
                  <a:moveTo>
                    <a:pt x="452" y="787"/>
                  </a:moveTo>
                  <a:cubicBezTo>
                    <a:pt x="268" y="787"/>
                    <a:pt x="119" y="638"/>
                    <a:pt x="119" y="454"/>
                  </a:cubicBezTo>
                  <a:cubicBezTo>
                    <a:pt x="119" y="270"/>
                    <a:pt x="268" y="121"/>
                    <a:pt x="452" y="121"/>
                  </a:cubicBezTo>
                  <a:cubicBezTo>
                    <a:pt x="636" y="121"/>
                    <a:pt x="785" y="270"/>
                    <a:pt x="785" y="454"/>
                  </a:cubicBezTo>
                  <a:cubicBezTo>
                    <a:pt x="785" y="638"/>
                    <a:pt x="636" y="787"/>
                    <a:pt x="452" y="787"/>
                  </a:cubicBezTo>
                  <a:close/>
                  <a:moveTo>
                    <a:pt x="779" y="318"/>
                  </a:moveTo>
                  <a:cubicBezTo>
                    <a:pt x="776" y="310"/>
                    <a:pt x="775" y="303"/>
                    <a:pt x="778" y="296"/>
                  </a:cubicBezTo>
                  <a:cubicBezTo>
                    <a:pt x="780" y="290"/>
                    <a:pt x="785" y="285"/>
                    <a:pt x="793" y="282"/>
                  </a:cubicBezTo>
                  <a:cubicBezTo>
                    <a:pt x="798" y="280"/>
                    <a:pt x="802" y="279"/>
                    <a:pt x="806" y="279"/>
                  </a:cubicBezTo>
                  <a:cubicBezTo>
                    <a:pt x="809" y="279"/>
                    <a:pt x="812" y="280"/>
                    <a:pt x="815" y="281"/>
                  </a:cubicBezTo>
                  <a:cubicBezTo>
                    <a:pt x="817" y="283"/>
                    <a:pt x="820" y="284"/>
                    <a:pt x="822" y="286"/>
                  </a:cubicBezTo>
                  <a:cubicBezTo>
                    <a:pt x="824" y="289"/>
                    <a:pt x="827" y="293"/>
                    <a:pt x="828" y="297"/>
                  </a:cubicBezTo>
                  <a:cubicBezTo>
                    <a:pt x="832" y="305"/>
                    <a:pt x="832" y="312"/>
                    <a:pt x="829" y="318"/>
                  </a:cubicBezTo>
                  <a:cubicBezTo>
                    <a:pt x="827" y="325"/>
                    <a:pt x="822" y="330"/>
                    <a:pt x="814" y="333"/>
                  </a:cubicBezTo>
                  <a:cubicBezTo>
                    <a:pt x="806" y="336"/>
                    <a:pt x="799" y="336"/>
                    <a:pt x="793" y="333"/>
                  </a:cubicBezTo>
                  <a:cubicBezTo>
                    <a:pt x="787" y="331"/>
                    <a:pt x="782" y="325"/>
                    <a:pt x="779" y="318"/>
                  </a:cubicBezTo>
                  <a:close/>
                  <a:moveTo>
                    <a:pt x="841" y="337"/>
                  </a:moveTo>
                  <a:cubicBezTo>
                    <a:pt x="844" y="348"/>
                    <a:pt x="844" y="348"/>
                    <a:pt x="844" y="348"/>
                  </a:cubicBezTo>
                  <a:cubicBezTo>
                    <a:pt x="803" y="358"/>
                    <a:pt x="803" y="358"/>
                    <a:pt x="803" y="358"/>
                  </a:cubicBezTo>
                  <a:cubicBezTo>
                    <a:pt x="810" y="386"/>
                    <a:pt x="810" y="386"/>
                    <a:pt x="810" y="386"/>
                  </a:cubicBezTo>
                  <a:cubicBezTo>
                    <a:pt x="801" y="388"/>
                    <a:pt x="801" y="388"/>
                    <a:pt x="801" y="388"/>
                  </a:cubicBezTo>
                  <a:cubicBezTo>
                    <a:pt x="792" y="349"/>
                    <a:pt x="792" y="349"/>
                    <a:pt x="792" y="349"/>
                  </a:cubicBezTo>
                  <a:lnTo>
                    <a:pt x="841" y="337"/>
                  </a:lnTo>
                  <a:close/>
                  <a:moveTo>
                    <a:pt x="852" y="525"/>
                  </a:moveTo>
                  <a:cubicBezTo>
                    <a:pt x="816" y="528"/>
                    <a:pt x="816" y="528"/>
                    <a:pt x="816" y="528"/>
                  </a:cubicBezTo>
                  <a:cubicBezTo>
                    <a:pt x="848" y="545"/>
                    <a:pt x="848" y="545"/>
                    <a:pt x="848" y="545"/>
                  </a:cubicBezTo>
                  <a:cubicBezTo>
                    <a:pt x="845" y="562"/>
                    <a:pt x="845" y="562"/>
                    <a:pt x="845" y="562"/>
                  </a:cubicBezTo>
                  <a:cubicBezTo>
                    <a:pt x="794" y="552"/>
                    <a:pt x="794" y="552"/>
                    <a:pt x="794" y="552"/>
                  </a:cubicBezTo>
                  <a:cubicBezTo>
                    <a:pt x="796" y="541"/>
                    <a:pt x="796" y="541"/>
                    <a:pt x="796" y="541"/>
                  </a:cubicBezTo>
                  <a:cubicBezTo>
                    <a:pt x="836" y="549"/>
                    <a:pt x="836" y="549"/>
                    <a:pt x="836" y="549"/>
                  </a:cubicBezTo>
                  <a:cubicBezTo>
                    <a:pt x="798" y="530"/>
                    <a:pt x="798" y="530"/>
                    <a:pt x="798" y="530"/>
                  </a:cubicBezTo>
                  <a:cubicBezTo>
                    <a:pt x="801" y="519"/>
                    <a:pt x="801" y="519"/>
                    <a:pt x="801" y="519"/>
                  </a:cubicBezTo>
                  <a:cubicBezTo>
                    <a:pt x="843" y="516"/>
                    <a:pt x="843" y="516"/>
                    <a:pt x="843" y="516"/>
                  </a:cubicBezTo>
                  <a:cubicBezTo>
                    <a:pt x="803" y="508"/>
                    <a:pt x="803" y="508"/>
                    <a:pt x="803" y="508"/>
                  </a:cubicBezTo>
                  <a:cubicBezTo>
                    <a:pt x="805" y="498"/>
                    <a:pt x="805" y="498"/>
                    <a:pt x="805" y="498"/>
                  </a:cubicBezTo>
                  <a:cubicBezTo>
                    <a:pt x="856" y="508"/>
                    <a:pt x="856" y="508"/>
                    <a:pt x="856" y="508"/>
                  </a:cubicBezTo>
                  <a:lnTo>
                    <a:pt x="852" y="525"/>
                  </a:lnTo>
                  <a:close/>
                  <a:moveTo>
                    <a:pt x="816" y="474"/>
                  </a:moveTo>
                  <a:cubicBezTo>
                    <a:pt x="817" y="476"/>
                    <a:pt x="818" y="477"/>
                    <a:pt x="820" y="477"/>
                  </a:cubicBezTo>
                  <a:cubicBezTo>
                    <a:pt x="822" y="478"/>
                    <a:pt x="825" y="478"/>
                    <a:pt x="829" y="478"/>
                  </a:cubicBezTo>
                  <a:cubicBezTo>
                    <a:pt x="858" y="479"/>
                    <a:pt x="858" y="479"/>
                    <a:pt x="858" y="479"/>
                  </a:cubicBezTo>
                  <a:cubicBezTo>
                    <a:pt x="857" y="491"/>
                    <a:pt x="857" y="491"/>
                    <a:pt x="857" y="491"/>
                  </a:cubicBezTo>
                  <a:cubicBezTo>
                    <a:pt x="830" y="490"/>
                    <a:pt x="830" y="490"/>
                    <a:pt x="830" y="490"/>
                  </a:cubicBezTo>
                  <a:cubicBezTo>
                    <a:pt x="824" y="490"/>
                    <a:pt x="819" y="489"/>
                    <a:pt x="817" y="488"/>
                  </a:cubicBezTo>
                  <a:cubicBezTo>
                    <a:pt x="814" y="488"/>
                    <a:pt x="812" y="486"/>
                    <a:pt x="811" y="485"/>
                  </a:cubicBezTo>
                  <a:cubicBezTo>
                    <a:pt x="809" y="483"/>
                    <a:pt x="808" y="481"/>
                    <a:pt x="807" y="478"/>
                  </a:cubicBezTo>
                  <a:cubicBezTo>
                    <a:pt x="806" y="475"/>
                    <a:pt x="805" y="471"/>
                    <a:pt x="805" y="467"/>
                  </a:cubicBezTo>
                  <a:cubicBezTo>
                    <a:pt x="806" y="461"/>
                    <a:pt x="806" y="457"/>
                    <a:pt x="808" y="455"/>
                  </a:cubicBezTo>
                  <a:cubicBezTo>
                    <a:pt x="809" y="452"/>
                    <a:pt x="810" y="450"/>
                    <a:pt x="812" y="448"/>
                  </a:cubicBezTo>
                  <a:cubicBezTo>
                    <a:pt x="814" y="447"/>
                    <a:pt x="816" y="446"/>
                    <a:pt x="818" y="445"/>
                  </a:cubicBezTo>
                  <a:cubicBezTo>
                    <a:pt x="821" y="444"/>
                    <a:pt x="825" y="444"/>
                    <a:pt x="831" y="444"/>
                  </a:cubicBezTo>
                  <a:cubicBezTo>
                    <a:pt x="859" y="445"/>
                    <a:pt x="859" y="445"/>
                    <a:pt x="859" y="445"/>
                  </a:cubicBezTo>
                  <a:cubicBezTo>
                    <a:pt x="858" y="457"/>
                    <a:pt x="858" y="457"/>
                    <a:pt x="858" y="457"/>
                  </a:cubicBezTo>
                  <a:cubicBezTo>
                    <a:pt x="830" y="456"/>
                    <a:pt x="830" y="456"/>
                    <a:pt x="830" y="456"/>
                  </a:cubicBezTo>
                  <a:cubicBezTo>
                    <a:pt x="826" y="456"/>
                    <a:pt x="823" y="456"/>
                    <a:pt x="822" y="456"/>
                  </a:cubicBezTo>
                  <a:cubicBezTo>
                    <a:pt x="819" y="456"/>
                    <a:pt x="818" y="457"/>
                    <a:pt x="816" y="459"/>
                  </a:cubicBezTo>
                  <a:cubicBezTo>
                    <a:pt x="815" y="461"/>
                    <a:pt x="814" y="464"/>
                    <a:pt x="814" y="467"/>
                  </a:cubicBezTo>
                  <a:cubicBezTo>
                    <a:pt x="814" y="470"/>
                    <a:pt x="815" y="473"/>
                    <a:pt x="816" y="4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Freeform 68">
              <a:extLst>
                <a:ext uri="{FF2B5EF4-FFF2-40B4-BE49-F238E27FC236}">
                  <a16:creationId xmlns:a16="http://schemas.microsoft.com/office/drawing/2014/main" id="{434E4E18-427D-4749-8268-8D82C4BD9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7558" y="4249111"/>
              <a:ext cx="41275" cy="39688"/>
            </a:xfrm>
            <a:custGeom>
              <a:avLst/>
              <a:gdLst>
                <a:gd name="T0" fmla="*/ 13 w 22"/>
                <a:gd name="T1" fmla="*/ 20 h 21"/>
                <a:gd name="T2" fmla="*/ 17 w 22"/>
                <a:gd name="T3" fmla="*/ 20 h 21"/>
                <a:gd name="T4" fmla="*/ 21 w 22"/>
                <a:gd name="T5" fmla="*/ 17 h 21"/>
                <a:gd name="T6" fmla="*/ 22 w 22"/>
                <a:gd name="T7" fmla="*/ 13 h 21"/>
                <a:gd name="T8" fmla="*/ 19 w 22"/>
                <a:gd name="T9" fmla="*/ 8 h 21"/>
                <a:gd name="T10" fmla="*/ 13 w 22"/>
                <a:gd name="T11" fmla="*/ 3 h 21"/>
                <a:gd name="T12" fmla="*/ 8 w 22"/>
                <a:gd name="T13" fmla="*/ 0 h 21"/>
                <a:gd name="T14" fmla="*/ 0 w 22"/>
                <a:gd name="T15" fmla="*/ 12 h 21"/>
                <a:gd name="T16" fmla="*/ 5 w 22"/>
                <a:gd name="T17" fmla="*/ 16 h 21"/>
                <a:gd name="T18" fmla="*/ 13 w 22"/>
                <a:gd name="T1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13" y="20"/>
                  </a:moveTo>
                  <a:cubicBezTo>
                    <a:pt x="14" y="21"/>
                    <a:pt x="16" y="21"/>
                    <a:pt x="17" y="20"/>
                  </a:cubicBezTo>
                  <a:cubicBezTo>
                    <a:pt x="19" y="20"/>
                    <a:pt x="20" y="19"/>
                    <a:pt x="21" y="17"/>
                  </a:cubicBezTo>
                  <a:cubicBezTo>
                    <a:pt x="22" y="16"/>
                    <a:pt x="22" y="14"/>
                    <a:pt x="22" y="13"/>
                  </a:cubicBezTo>
                  <a:cubicBezTo>
                    <a:pt x="22" y="11"/>
                    <a:pt x="21" y="9"/>
                    <a:pt x="19" y="8"/>
                  </a:cubicBezTo>
                  <a:cubicBezTo>
                    <a:pt x="18" y="7"/>
                    <a:pt x="16" y="5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9" y="18"/>
                    <a:pt x="11" y="20"/>
                    <a:pt x="1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Freeform 69">
              <a:extLst>
                <a:ext uri="{FF2B5EF4-FFF2-40B4-BE49-F238E27FC236}">
                  <a16:creationId xmlns:a16="http://schemas.microsoft.com/office/drawing/2014/main" id="{D700C67B-4D7A-45D5-B610-562ABFCAE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9270" y="5563561"/>
              <a:ext cx="33338" cy="52388"/>
            </a:xfrm>
            <a:custGeom>
              <a:avLst/>
              <a:gdLst>
                <a:gd name="T0" fmla="*/ 3 w 18"/>
                <a:gd name="T1" fmla="*/ 3 h 28"/>
                <a:gd name="T2" fmla="*/ 5 w 18"/>
                <a:gd name="T3" fmla="*/ 6 h 28"/>
                <a:gd name="T4" fmla="*/ 7 w 18"/>
                <a:gd name="T5" fmla="*/ 8 h 28"/>
                <a:gd name="T6" fmla="*/ 7 w 18"/>
                <a:gd name="T7" fmla="*/ 11 h 28"/>
                <a:gd name="T8" fmla="*/ 6 w 18"/>
                <a:gd name="T9" fmla="*/ 13 h 28"/>
                <a:gd name="T10" fmla="*/ 2 w 18"/>
                <a:gd name="T11" fmla="*/ 19 h 28"/>
                <a:gd name="T12" fmla="*/ 3 w 18"/>
                <a:gd name="T13" fmla="*/ 25 h 28"/>
                <a:gd name="T14" fmla="*/ 8 w 18"/>
                <a:gd name="T15" fmla="*/ 22 h 28"/>
                <a:gd name="T16" fmla="*/ 9 w 18"/>
                <a:gd name="T17" fmla="*/ 21 h 28"/>
                <a:gd name="T18" fmla="*/ 10 w 18"/>
                <a:gd name="T19" fmla="*/ 19 h 28"/>
                <a:gd name="T20" fmla="*/ 14 w 18"/>
                <a:gd name="T21" fmla="*/ 13 h 28"/>
                <a:gd name="T22" fmla="*/ 17 w 18"/>
                <a:gd name="T23" fmla="*/ 6 h 28"/>
                <a:gd name="T24" fmla="*/ 17 w 18"/>
                <a:gd name="T25" fmla="*/ 4 h 28"/>
                <a:gd name="T26" fmla="*/ 12 w 18"/>
                <a:gd name="T27" fmla="*/ 1 h 28"/>
                <a:gd name="T28" fmla="*/ 7 w 18"/>
                <a:gd name="T29" fmla="*/ 0 h 28"/>
                <a:gd name="T30" fmla="*/ 4 w 18"/>
                <a:gd name="T31" fmla="*/ 0 h 28"/>
                <a:gd name="T32" fmla="*/ 3 w 18"/>
                <a:gd name="T33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28">
                  <a:moveTo>
                    <a:pt x="3" y="3"/>
                  </a:moveTo>
                  <a:cubicBezTo>
                    <a:pt x="4" y="4"/>
                    <a:pt x="5" y="6"/>
                    <a:pt x="5" y="6"/>
                  </a:cubicBezTo>
                  <a:cubicBezTo>
                    <a:pt x="6" y="8"/>
                    <a:pt x="7" y="8"/>
                    <a:pt x="7" y="8"/>
                  </a:cubicBezTo>
                  <a:cubicBezTo>
                    <a:pt x="8" y="9"/>
                    <a:pt x="7" y="11"/>
                    <a:pt x="7" y="11"/>
                  </a:cubicBezTo>
                  <a:cubicBezTo>
                    <a:pt x="6" y="12"/>
                    <a:pt x="6" y="13"/>
                    <a:pt x="6" y="13"/>
                  </a:cubicBezTo>
                  <a:cubicBezTo>
                    <a:pt x="5" y="16"/>
                    <a:pt x="2" y="19"/>
                    <a:pt x="2" y="19"/>
                  </a:cubicBezTo>
                  <a:cubicBezTo>
                    <a:pt x="0" y="21"/>
                    <a:pt x="3" y="25"/>
                    <a:pt x="3" y="25"/>
                  </a:cubicBezTo>
                  <a:cubicBezTo>
                    <a:pt x="4" y="28"/>
                    <a:pt x="8" y="22"/>
                    <a:pt x="8" y="22"/>
                  </a:cubicBezTo>
                  <a:cubicBezTo>
                    <a:pt x="8" y="21"/>
                    <a:pt x="9" y="21"/>
                    <a:pt x="9" y="21"/>
                  </a:cubicBezTo>
                  <a:cubicBezTo>
                    <a:pt x="10" y="20"/>
                    <a:pt x="10" y="19"/>
                    <a:pt x="10" y="19"/>
                  </a:cubicBezTo>
                  <a:cubicBezTo>
                    <a:pt x="12" y="16"/>
                    <a:pt x="14" y="13"/>
                    <a:pt x="14" y="13"/>
                  </a:cubicBezTo>
                  <a:cubicBezTo>
                    <a:pt x="15" y="12"/>
                    <a:pt x="17" y="6"/>
                    <a:pt x="17" y="6"/>
                  </a:cubicBezTo>
                  <a:cubicBezTo>
                    <a:pt x="18" y="6"/>
                    <a:pt x="17" y="4"/>
                    <a:pt x="17" y="4"/>
                  </a:cubicBezTo>
                  <a:cubicBezTo>
                    <a:pt x="17" y="3"/>
                    <a:pt x="12" y="1"/>
                    <a:pt x="12" y="1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6" y="0"/>
                    <a:pt x="4" y="0"/>
                    <a:pt x="4" y="0"/>
                  </a:cubicBezTo>
                  <a:cubicBezTo>
                    <a:pt x="1" y="1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Freeform 70">
              <a:extLst>
                <a:ext uri="{FF2B5EF4-FFF2-40B4-BE49-F238E27FC236}">
                  <a16:creationId xmlns:a16="http://schemas.microsoft.com/office/drawing/2014/main" id="{BDF63ECB-E04D-4D9E-83A7-219A2ADA2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7745" y="4565023"/>
              <a:ext cx="68263" cy="63500"/>
            </a:xfrm>
            <a:custGeom>
              <a:avLst/>
              <a:gdLst>
                <a:gd name="T0" fmla="*/ 25 w 37"/>
                <a:gd name="T1" fmla="*/ 32 h 34"/>
                <a:gd name="T2" fmla="*/ 35 w 37"/>
                <a:gd name="T3" fmla="*/ 23 h 34"/>
                <a:gd name="T4" fmla="*/ 35 w 37"/>
                <a:gd name="T5" fmla="*/ 10 h 34"/>
                <a:gd name="T6" fmla="*/ 27 w 37"/>
                <a:gd name="T7" fmla="*/ 2 h 34"/>
                <a:gd name="T8" fmla="*/ 13 w 37"/>
                <a:gd name="T9" fmla="*/ 3 h 34"/>
                <a:gd name="T10" fmla="*/ 2 w 37"/>
                <a:gd name="T11" fmla="*/ 12 h 34"/>
                <a:gd name="T12" fmla="*/ 2 w 37"/>
                <a:gd name="T13" fmla="*/ 24 h 34"/>
                <a:gd name="T14" fmla="*/ 11 w 37"/>
                <a:gd name="T15" fmla="*/ 33 h 34"/>
                <a:gd name="T16" fmla="*/ 25 w 37"/>
                <a:gd name="T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4">
                  <a:moveTo>
                    <a:pt x="25" y="32"/>
                  </a:moveTo>
                  <a:cubicBezTo>
                    <a:pt x="30" y="29"/>
                    <a:pt x="34" y="26"/>
                    <a:pt x="35" y="23"/>
                  </a:cubicBezTo>
                  <a:cubicBezTo>
                    <a:pt x="37" y="19"/>
                    <a:pt x="37" y="15"/>
                    <a:pt x="35" y="10"/>
                  </a:cubicBezTo>
                  <a:cubicBezTo>
                    <a:pt x="33" y="6"/>
                    <a:pt x="31" y="3"/>
                    <a:pt x="27" y="2"/>
                  </a:cubicBezTo>
                  <a:cubicBezTo>
                    <a:pt x="23" y="0"/>
                    <a:pt x="18" y="0"/>
                    <a:pt x="13" y="3"/>
                  </a:cubicBezTo>
                  <a:cubicBezTo>
                    <a:pt x="7" y="5"/>
                    <a:pt x="4" y="8"/>
                    <a:pt x="2" y="12"/>
                  </a:cubicBezTo>
                  <a:cubicBezTo>
                    <a:pt x="0" y="16"/>
                    <a:pt x="0" y="20"/>
                    <a:pt x="2" y="24"/>
                  </a:cubicBezTo>
                  <a:cubicBezTo>
                    <a:pt x="4" y="28"/>
                    <a:pt x="7" y="31"/>
                    <a:pt x="11" y="33"/>
                  </a:cubicBezTo>
                  <a:cubicBezTo>
                    <a:pt x="14" y="34"/>
                    <a:pt x="19" y="34"/>
                    <a:pt x="2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078473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>
            <a:extLst>
              <a:ext uri="{FF2B5EF4-FFF2-40B4-BE49-F238E27FC236}">
                <a16:creationId xmlns:a16="http://schemas.microsoft.com/office/drawing/2014/main" id="{FF10B8FB-2273-41B7-8E1F-926DBE7889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04</a:t>
            </a:r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E0FF230A-246B-4B62-806B-74825E33A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代码解析</a:t>
            </a:r>
            <a:endParaRPr lang="zh-CN" altLang="en-US" b="0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18" name="文本占位符 17">
            <a:extLst>
              <a:ext uri="{FF2B5EF4-FFF2-40B4-BE49-F238E27FC236}">
                <a16:creationId xmlns:a16="http://schemas.microsoft.com/office/drawing/2014/main" id="{BA7A27FB-D900-4265-A649-5670F758F5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42552" y="4305568"/>
            <a:ext cx="4432124" cy="471882"/>
          </a:xfrm>
        </p:spPr>
        <p:txBody>
          <a:bodyPr/>
          <a:lstStyle/>
          <a:p>
            <a:r>
              <a:rPr lang="en-US" altLang="zh-CN" dirty="0" smtClean="0"/>
              <a:t>The </a:t>
            </a:r>
            <a:r>
              <a:rPr lang="en-US" altLang="zh-CN" smtClean="0"/>
              <a:t>Code </a:t>
            </a:r>
            <a:r>
              <a:rPr lang="en-US" altLang="zh-CN" smtClean="0"/>
              <a:t>Analysis</a:t>
            </a:r>
            <a:endParaRPr lang="en-US" altLang="zh-CN" dirty="0"/>
          </a:p>
        </p:txBody>
      </p:sp>
      <p:sp>
        <p:nvSpPr>
          <p:cNvPr id="23" name="文本占位符 22">
            <a:extLst>
              <a:ext uri="{FF2B5EF4-FFF2-40B4-BE49-F238E27FC236}">
                <a16:creationId xmlns:a16="http://schemas.microsoft.com/office/drawing/2014/main" id="{CD512192-B602-40AF-AD7D-06B990B43C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zh-CN" altLang="en-US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人力资源管理系统开发</a:t>
            </a:r>
            <a:endParaRPr lang="zh-CN" altLang="en-US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820D1AB-7AB0-46B9-A544-5A22C9D2AD6A}"/>
              </a:ext>
            </a:extLst>
          </p:cNvPr>
          <p:cNvSpPr/>
          <p:nvPr/>
        </p:nvSpPr>
        <p:spPr>
          <a:xfrm>
            <a:off x="673100" y="5999480"/>
            <a:ext cx="134620" cy="1346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2D46A45-1469-4EBB-8A8D-82D3787D02BA}"/>
              </a:ext>
            </a:extLst>
          </p:cNvPr>
          <p:cNvSpPr/>
          <p:nvPr/>
        </p:nvSpPr>
        <p:spPr>
          <a:xfrm>
            <a:off x="875031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2289554-1D42-469B-83B0-740899C01652}"/>
              </a:ext>
            </a:extLst>
          </p:cNvPr>
          <p:cNvSpPr/>
          <p:nvPr/>
        </p:nvSpPr>
        <p:spPr>
          <a:xfrm>
            <a:off x="107696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C5FF172-CB5F-43BB-81CB-9E1FFA866959}"/>
              </a:ext>
            </a:extLst>
          </p:cNvPr>
          <p:cNvSpPr/>
          <p:nvPr/>
        </p:nvSpPr>
        <p:spPr>
          <a:xfrm>
            <a:off x="1278890" y="5999480"/>
            <a:ext cx="134620" cy="134620"/>
          </a:xfrm>
          <a:prstGeom prst="rect">
            <a:avLst/>
          </a:prstGeom>
          <a:solidFill>
            <a:srgbClr val="01113E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6372E00D-D69E-4470-A41F-1819A83C2FA3}"/>
              </a:ext>
            </a:extLst>
          </p:cNvPr>
          <p:cNvSpPr/>
          <p:nvPr/>
        </p:nvSpPr>
        <p:spPr>
          <a:xfrm>
            <a:off x="148082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207B1B1-F689-46DE-956A-24EC1FBD99EA}"/>
              </a:ext>
            </a:extLst>
          </p:cNvPr>
          <p:cNvSpPr/>
          <p:nvPr/>
        </p:nvSpPr>
        <p:spPr>
          <a:xfrm>
            <a:off x="168275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61150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代码解析</a:t>
            </a:r>
            <a:r>
              <a:rPr lang="en-US" altLang="zh-CN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——</a:t>
            </a:r>
            <a:r>
              <a:rPr lang="zh-CN" altLang="en-US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经典代码</a:t>
            </a:r>
            <a:endParaRPr lang="zh-CN" altLang="en-US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9" name="ïṣlíḍé">
            <a:extLst>
              <a:ext uri="{FF2B5EF4-FFF2-40B4-BE49-F238E27FC236}">
                <a16:creationId xmlns:a16="http://schemas.microsoft.com/office/drawing/2014/main" id="{A759F301-DAE5-420B-B250-CB09FEC61B5B}"/>
              </a:ext>
            </a:extLst>
          </p:cNvPr>
          <p:cNvSpPr txBox="1"/>
          <p:nvPr/>
        </p:nvSpPr>
        <p:spPr>
          <a:xfrm>
            <a:off x="669924" y="1293416"/>
            <a:ext cx="4529873" cy="494704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/>
          </a:p>
        </p:txBody>
      </p:sp>
      <p:sp>
        <p:nvSpPr>
          <p:cNvPr id="10" name="íSḷïḑe">
            <a:extLst>
              <a:ext uri="{FF2B5EF4-FFF2-40B4-BE49-F238E27FC236}">
                <a16:creationId xmlns:a16="http://schemas.microsoft.com/office/drawing/2014/main" id="{B503BAEC-2EF9-4230-9E86-E470958021CD}"/>
              </a:ext>
            </a:extLst>
          </p:cNvPr>
          <p:cNvSpPr/>
          <p:nvPr/>
        </p:nvSpPr>
        <p:spPr bwMode="gray">
          <a:xfrm>
            <a:off x="669924" y="1600624"/>
            <a:ext cx="4529873" cy="453665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2400" b="1" smtClean="0">
                <a:solidFill>
                  <a:schemeClr val="tx1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   根据</a:t>
            </a:r>
            <a:r>
              <a:rPr lang="zh-CN" altLang="en-US" sz="2400" b="1" dirty="0">
                <a:solidFill>
                  <a:schemeClr val="tx1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登录的不同情况跳转不同身份对应的页面</a:t>
            </a:r>
            <a:endParaRPr lang="en-US" altLang="zh-CN" sz="2400" b="1" dirty="0">
              <a:solidFill>
                <a:schemeClr val="tx1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1" name="isľíḓê">
            <a:extLst>
              <a:ext uri="{FF2B5EF4-FFF2-40B4-BE49-F238E27FC236}">
                <a16:creationId xmlns:a16="http://schemas.microsoft.com/office/drawing/2014/main" id="{994794E0-BA81-4E07-9700-055211CECB72}"/>
              </a:ext>
            </a:extLst>
          </p:cNvPr>
          <p:cNvSpPr/>
          <p:nvPr/>
        </p:nvSpPr>
        <p:spPr bwMode="auto">
          <a:xfrm>
            <a:off x="881967" y="1130300"/>
            <a:ext cx="2795606" cy="326232"/>
          </a:xfrm>
          <a:prstGeom prst="homePlate">
            <a:avLst/>
          </a:prstGeom>
          <a:solidFill>
            <a:srgbClr val="01113E"/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982639" y="2947916"/>
            <a:ext cx="399879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1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代码简洁</a:t>
            </a:r>
            <a:endParaRPr lang="en-US" altLang="zh-CN" sz="2400" b="1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indent="-2857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1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原理简单</a:t>
            </a:r>
            <a:endParaRPr lang="en-US" altLang="zh-CN" sz="2400" b="1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indent="-2857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1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满足功能需要</a:t>
            </a:r>
            <a:endParaRPr lang="en-US" altLang="zh-CN" sz="2400" b="1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indent="-2857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1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完美解决问题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512" y="1988545"/>
            <a:ext cx="6105993" cy="29727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781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滴水穿石，不是力量大，而是功夫</a:t>
            </a:r>
            <a:r>
              <a:rPr lang="zh-CN" altLang="en-US" smtClean="0"/>
              <a:t>深 </a:t>
            </a:r>
            <a:r>
              <a:rPr lang="en-US" altLang="zh-CN" smtClean="0"/>
              <a:t>——</a:t>
            </a:r>
            <a:r>
              <a:rPr lang="zh-CN" altLang="en-US" smtClean="0"/>
              <a:t>第一小组 </a:t>
            </a:r>
            <a:r>
              <a:rPr lang="en-US" altLang="zh-CN" smtClean="0"/>
              <a:t>HRM</a:t>
            </a:r>
            <a:endParaRPr lang="zh-CN" altLang="en-US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237708"/>
            <a:ext cx="3476190" cy="47619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247" y="1237708"/>
            <a:ext cx="3514286" cy="48095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3343" y="1237708"/>
            <a:ext cx="3457143" cy="48190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6277" y="1237708"/>
            <a:ext cx="3523809" cy="4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37668" y="1261518"/>
            <a:ext cx="3466667" cy="4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54753" y="1261518"/>
            <a:ext cx="3485714" cy="47904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图片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4665" y="1271042"/>
            <a:ext cx="3466667" cy="4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95530" y="1261518"/>
            <a:ext cx="3485714" cy="48095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图片 2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38725" y="1247232"/>
            <a:ext cx="3495238" cy="4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65599" y="1237708"/>
            <a:ext cx="3476190" cy="48190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35830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4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2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2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00"/>
                            </p:stCondLst>
                            <p:childTnLst>
                              <p:par>
                                <p:cTn id="3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2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2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400"/>
                            </p:stCondLst>
                            <p:childTnLst>
                              <p:par>
                                <p:cTn id="4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2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2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600"/>
                            </p:stCondLst>
                            <p:childTnLst>
                              <p:par>
                                <p:cTn id="4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2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2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800"/>
                            </p:stCondLst>
                            <p:childTnLst>
                              <p:par>
                                <p:cTn id="5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2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2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b="0" dirty="0" smtClean="0">
                <a:latin typeface="华文新魏" panose="02010800040101010101" pitchFamily="2" charset="-122"/>
                <a:ea typeface="华文新魏" panose="02010800040101010101" pitchFamily="2" charset="-122"/>
              </a:rPr>
              <a:t>人力资源管理系统开发</a:t>
            </a:r>
            <a:endParaRPr lang="zh-CN" altLang="en-US" b="0" dirty="0">
              <a:latin typeface="华文新魏" panose="02010800040101010101" pitchFamily="2" charset="-122"/>
              <a:ea typeface="华文新魏" panose="02010800040101010101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grpSp>
        <p:nvGrpSpPr>
          <p:cNvPr id="5" name="2707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-12700"/>
            <a:ext cx="11531599" cy="6870700"/>
            <a:chOff x="660400" y="-12700"/>
            <a:chExt cx="11531599" cy="6870700"/>
          </a:xfrm>
        </p:grpSpPr>
        <p:sp>
          <p:nvSpPr>
            <p:cNvPr id="6" name="î$lïďè">
              <a:extLst>
                <a:ext uri="{FF2B5EF4-FFF2-40B4-BE49-F238E27FC236}">
                  <a16:creationId xmlns:a16="http://schemas.microsoft.com/office/drawing/2014/main" id="{0A91AA66-B5BF-45E0-A14B-335891183B2E}"/>
                </a:ext>
              </a:extLst>
            </p:cNvPr>
            <p:cNvSpPr/>
            <p:nvPr/>
          </p:nvSpPr>
          <p:spPr>
            <a:xfrm>
              <a:off x="4886540" y="-12700"/>
              <a:ext cx="7305459" cy="6870700"/>
            </a:xfrm>
            <a:prstGeom prst="rect">
              <a:avLst/>
            </a:prstGeom>
            <a:blipFill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artisticCement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iṧlïḑé">
              <a:extLst>
                <a:ext uri="{FF2B5EF4-FFF2-40B4-BE49-F238E27FC236}">
                  <a16:creationId xmlns:a16="http://schemas.microsoft.com/office/drawing/2014/main" id="{67A856E0-8463-42FA-83CE-7ACFA0A58D91}"/>
                </a:ext>
              </a:extLst>
            </p:cNvPr>
            <p:cNvSpPr/>
            <p:nvPr/>
          </p:nvSpPr>
          <p:spPr>
            <a:xfrm>
              <a:off x="660400" y="1819275"/>
              <a:ext cx="5330825" cy="4314825"/>
            </a:xfrm>
            <a:prstGeom prst="rect">
              <a:avLst/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12700" cap="rnd">
              <a:noFill/>
              <a:prstDash val="solid"/>
              <a:round/>
              <a:headEnd/>
              <a:tailEnd/>
            </a:ln>
            <a:effectLst>
              <a:outerShdw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ïṩḷiḑe">
              <a:extLst>
                <a:ext uri="{FF2B5EF4-FFF2-40B4-BE49-F238E27FC236}">
                  <a16:creationId xmlns:a16="http://schemas.microsoft.com/office/drawing/2014/main" id="{575FBA35-F57C-4786-A618-4B36453FB649}"/>
                </a:ext>
              </a:extLst>
            </p:cNvPr>
            <p:cNvSpPr/>
            <p:nvPr/>
          </p:nvSpPr>
          <p:spPr>
            <a:xfrm>
              <a:off x="673100" y="1235759"/>
              <a:ext cx="1270000" cy="5073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i="1" dirty="0" smtClean="0">
                  <a:solidFill>
                    <a:srgbClr val="001234"/>
                  </a:solidFill>
                </a:rPr>
                <a:t>Contents</a:t>
              </a:r>
              <a:endParaRPr lang="zh-CN" altLang="en-US" b="1" i="1" dirty="0">
                <a:solidFill>
                  <a:srgbClr val="001234"/>
                </a:solidFill>
              </a:endParaRPr>
            </a:p>
          </p:txBody>
        </p:sp>
        <p:sp>
          <p:nvSpPr>
            <p:cNvPr id="9" name="îšḷiḑe">
              <a:extLst>
                <a:ext uri="{FF2B5EF4-FFF2-40B4-BE49-F238E27FC236}">
                  <a16:creationId xmlns:a16="http://schemas.microsoft.com/office/drawing/2014/main" id="{4DDCEED9-B09C-43F3-854D-22BFC7F1BEFE}"/>
                </a:ext>
              </a:extLst>
            </p:cNvPr>
            <p:cNvSpPr/>
            <p:nvPr/>
          </p:nvSpPr>
          <p:spPr>
            <a:xfrm>
              <a:off x="1833562" y="1452563"/>
              <a:ext cx="114302" cy="114300"/>
            </a:xfrm>
            <a:prstGeom prst="chevron">
              <a:avLst/>
            </a:pr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iṩlíḓe">
              <a:extLst>
                <a:ext uri="{FF2B5EF4-FFF2-40B4-BE49-F238E27FC236}">
                  <a16:creationId xmlns:a16="http://schemas.microsoft.com/office/drawing/2014/main" id="{3C233A5D-634E-4659-A518-79FB96886CAB}"/>
                </a:ext>
              </a:extLst>
            </p:cNvPr>
            <p:cNvSpPr/>
            <p:nvPr/>
          </p:nvSpPr>
          <p:spPr>
            <a:xfrm>
              <a:off x="1915271" y="1452563"/>
              <a:ext cx="114302" cy="114300"/>
            </a:xfrm>
            <a:prstGeom prst="chevron">
              <a:avLst/>
            </a:prstGeom>
            <a:solidFill>
              <a:schemeClr val="accent1">
                <a:alpha val="4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ísliḍè">
              <a:extLst>
                <a:ext uri="{FF2B5EF4-FFF2-40B4-BE49-F238E27FC236}">
                  <a16:creationId xmlns:a16="http://schemas.microsoft.com/office/drawing/2014/main" id="{3AE1D033-DC05-40FB-A5BD-9DE4238C78AF}"/>
                </a:ext>
              </a:extLst>
            </p:cNvPr>
            <p:cNvSpPr/>
            <p:nvPr/>
          </p:nvSpPr>
          <p:spPr>
            <a:xfrm>
              <a:off x="1996980" y="1452563"/>
              <a:ext cx="114302" cy="114300"/>
            </a:xfrm>
            <a:prstGeom prst="chevron">
              <a:avLst/>
            </a:prstGeom>
            <a:solidFill>
              <a:schemeClr val="accent1">
                <a:alpha val="2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2" name="iṩľîḋê">
              <a:extLst>
                <a:ext uri="{FF2B5EF4-FFF2-40B4-BE49-F238E27FC236}">
                  <a16:creationId xmlns:a16="http://schemas.microsoft.com/office/drawing/2014/main" id="{34E0D9A6-7D19-4957-B730-816FBD7D07C4}"/>
                </a:ext>
              </a:extLst>
            </p:cNvPr>
            <p:cNvGrpSpPr/>
            <p:nvPr/>
          </p:nvGrpSpPr>
          <p:grpSpPr>
            <a:xfrm>
              <a:off x="778360" y="2356128"/>
              <a:ext cx="4476571" cy="3154084"/>
              <a:chOff x="778360" y="1619188"/>
              <a:chExt cx="4476571" cy="3154084"/>
            </a:xfrm>
          </p:grpSpPr>
          <p:sp>
            <p:nvSpPr>
              <p:cNvPr id="13" name="ïşlïḑè">
                <a:extLst>
                  <a:ext uri="{FF2B5EF4-FFF2-40B4-BE49-F238E27FC236}">
                    <a16:creationId xmlns:a16="http://schemas.microsoft.com/office/drawing/2014/main" id="{653BCCD0-812A-44F1-95E3-D5081CA5BA05}"/>
                  </a:ext>
                </a:extLst>
              </p:cNvPr>
              <p:cNvSpPr/>
              <p:nvPr/>
            </p:nvSpPr>
            <p:spPr>
              <a:xfrm>
                <a:off x="778360" y="1619188"/>
                <a:ext cx="538264" cy="538264"/>
              </a:xfrm>
              <a:prstGeom prst="ellips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b="1" dirty="0">
                    <a:solidFill>
                      <a:schemeClr val="bg1"/>
                    </a:solidFill>
                  </a:rPr>
                  <a:t>1</a:t>
                </a:r>
                <a:endParaRPr lang="zh-CN" altLang="en-US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4" name="ïšlïḓê">
                <a:extLst>
                  <a:ext uri="{FF2B5EF4-FFF2-40B4-BE49-F238E27FC236}">
                    <a16:creationId xmlns:a16="http://schemas.microsoft.com/office/drawing/2014/main" id="{AD8F4DE3-68F4-4FEC-A7B9-3DDE64FDF34F}"/>
                  </a:ext>
                </a:extLst>
              </p:cNvPr>
              <p:cNvGrpSpPr/>
              <p:nvPr/>
            </p:nvGrpSpPr>
            <p:grpSpPr>
              <a:xfrm>
                <a:off x="778360" y="1660437"/>
                <a:ext cx="4476571" cy="3112835"/>
                <a:chOff x="778360" y="1660437"/>
                <a:chExt cx="4476571" cy="3112835"/>
              </a:xfrm>
            </p:grpSpPr>
            <p:sp>
              <p:nvSpPr>
                <p:cNvPr id="15" name="îSḷïḋe">
                  <a:extLst>
                    <a:ext uri="{FF2B5EF4-FFF2-40B4-BE49-F238E27FC236}">
                      <a16:creationId xmlns:a16="http://schemas.microsoft.com/office/drawing/2014/main" id="{8ED3B6F1-6256-4F51-8B68-88AC2273236A}"/>
                    </a:ext>
                  </a:extLst>
                </p:cNvPr>
                <p:cNvSpPr/>
                <p:nvPr/>
              </p:nvSpPr>
              <p:spPr bwMode="auto">
                <a:xfrm>
                  <a:off x="1421772" y="1660437"/>
                  <a:ext cx="2304306" cy="4557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zh-CN" altLang="en-US" sz="2800" dirty="0" smtClean="0">
                      <a:latin typeface="方正粗黑宋简体" panose="02000000000000000000" pitchFamily="2" charset="-122"/>
                      <a:ea typeface="方正粗黑宋简体" panose="02000000000000000000" pitchFamily="2" charset="-122"/>
                    </a:rPr>
                    <a:t>设计思路</a:t>
                  </a:r>
                  <a:endParaRPr lang="en-US" altLang="zh-CN" sz="2800" dirty="0">
                    <a:latin typeface="方正粗黑宋简体" panose="02000000000000000000" pitchFamily="2" charset="-122"/>
                    <a:ea typeface="方正粗黑宋简体" panose="02000000000000000000" pitchFamily="2" charset="-122"/>
                  </a:endParaRPr>
                </a:p>
              </p:txBody>
            </p:sp>
            <p:sp>
              <p:nvSpPr>
                <p:cNvPr id="16" name="iśḷïḓé">
                  <a:extLst>
                    <a:ext uri="{FF2B5EF4-FFF2-40B4-BE49-F238E27FC236}">
                      <a16:creationId xmlns:a16="http://schemas.microsoft.com/office/drawing/2014/main" id="{1CAD7863-24B2-474D-AFDD-90DFBCDD7316}"/>
                    </a:ext>
                  </a:extLst>
                </p:cNvPr>
                <p:cNvSpPr/>
                <p:nvPr/>
              </p:nvSpPr>
              <p:spPr>
                <a:xfrm>
                  <a:off x="778360" y="3363068"/>
                  <a:ext cx="538264" cy="538264"/>
                </a:xfrm>
                <a:prstGeom prst="ellipse">
                  <a:avLst/>
                </a:prstGeom>
                <a:solidFill>
                  <a:schemeClr val="accent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r>
                    <a:rPr lang="en-US" altLang="zh-CN" b="1" dirty="0">
                      <a:solidFill>
                        <a:schemeClr val="bg1"/>
                      </a:solidFill>
                    </a:rPr>
                    <a:t>3</a:t>
                  </a:r>
                  <a:endParaRPr lang="zh-CN" alt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ïṣļiḓè">
                  <a:extLst>
                    <a:ext uri="{FF2B5EF4-FFF2-40B4-BE49-F238E27FC236}">
                      <a16:creationId xmlns:a16="http://schemas.microsoft.com/office/drawing/2014/main" id="{0E288D82-C156-43A2-9B01-5D7BC9B63E58}"/>
                    </a:ext>
                  </a:extLst>
                </p:cNvPr>
                <p:cNvSpPr/>
                <p:nvPr/>
              </p:nvSpPr>
              <p:spPr bwMode="auto">
                <a:xfrm>
                  <a:off x="1421772" y="3404317"/>
                  <a:ext cx="2304306" cy="4557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zh-CN" altLang="en-US" sz="2800" dirty="0">
                      <a:latin typeface="方正粗黑宋简体" panose="02000000000000000000" pitchFamily="2" charset="-122"/>
                      <a:ea typeface="方正粗黑宋简体" panose="02000000000000000000" pitchFamily="2" charset="-122"/>
                    </a:rPr>
                    <a:t>功能演示</a:t>
                  </a:r>
                  <a:endParaRPr lang="en-US" altLang="zh-CN" sz="2800" dirty="0">
                    <a:latin typeface="方正粗黑宋简体" panose="02000000000000000000" pitchFamily="2" charset="-122"/>
                    <a:ea typeface="方正粗黑宋简体" panose="02000000000000000000" pitchFamily="2" charset="-122"/>
                  </a:endParaRPr>
                </a:p>
              </p:txBody>
            </p:sp>
            <p:sp>
              <p:nvSpPr>
                <p:cNvPr id="18" name="iṧ1iḍé">
                  <a:extLst>
                    <a:ext uri="{FF2B5EF4-FFF2-40B4-BE49-F238E27FC236}">
                      <a16:creationId xmlns:a16="http://schemas.microsoft.com/office/drawing/2014/main" id="{03A44628-5250-44F3-96CC-D1FF960BDD30}"/>
                    </a:ext>
                  </a:extLst>
                </p:cNvPr>
                <p:cNvSpPr/>
                <p:nvPr/>
              </p:nvSpPr>
              <p:spPr>
                <a:xfrm>
                  <a:off x="778360" y="2491128"/>
                  <a:ext cx="538264" cy="538264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r>
                    <a:rPr lang="en-US" altLang="zh-CN" b="1" dirty="0">
                      <a:solidFill>
                        <a:schemeClr val="bg1"/>
                      </a:solidFill>
                    </a:rPr>
                    <a:t>2</a:t>
                  </a:r>
                  <a:endParaRPr lang="zh-CN" alt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9" name="íš1íḋé">
                  <a:extLst>
                    <a:ext uri="{FF2B5EF4-FFF2-40B4-BE49-F238E27FC236}">
                      <a16:creationId xmlns:a16="http://schemas.microsoft.com/office/drawing/2014/main" id="{FB3892D2-E436-423A-B70A-E419DFF6CD6B}"/>
                    </a:ext>
                  </a:extLst>
                </p:cNvPr>
                <p:cNvSpPr/>
                <p:nvPr/>
              </p:nvSpPr>
              <p:spPr bwMode="auto">
                <a:xfrm>
                  <a:off x="1421772" y="2532377"/>
                  <a:ext cx="2304306" cy="4557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zh-CN" altLang="en-US" sz="2800" dirty="0">
                      <a:latin typeface="方正粗黑宋简体" panose="02000000000000000000" pitchFamily="2" charset="-122"/>
                      <a:ea typeface="方正粗黑宋简体" panose="02000000000000000000" pitchFamily="2" charset="-122"/>
                    </a:rPr>
                    <a:t>实际开发</a:t>
                  </a:r>
                  <a:endParaRPr lang="en-US" altLang="zh-CN" sz="2800" dirty="0">
                    <a:latin typeface="方正粗黑宋简体" panose="02000000000000000000" pitchFamily="2" charset="-122"/>
                    <a:ea typeface="方正粗黑宋简体" panose="02000000000000000000" pitchFamily="2" charset="-122"/>
                  </a:endParaRPr>
                </a:p>
              </p:txBody>
            </p:sp>
            <p:sp>
              <p:nvSpPr>
                <p:cNvPr id="20" name="ïŝlíḍé">
                  <a:extLst>
                    <a:ext uri="{FF2B5EF4-FFF2-40B4-BE49-F238E27FC236}">
                      <a16:creationId xmlns:a16="http://schemas.microsoft.com/office/drawing/2014/main" id="{3DC8166B-20F1-481A-8676-283F1C92DC4D}"/>
                    </a:ext>
                  </a:extLst>
                </p:cNvPr>
                <p:cNvSpPr/>
                <p:nvPr/>
              </p:nvSpPr>
              <p:spPr>
                <a:xfrm>
                  <a:off x="778360" y="4235008"/>
                  <a:ext cx="538264" cy="538264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r>
                    <a:rPr lang="en-US" altLang="zh-CN" b="1" dirty="0">
                      <a:solidFill>
                        <a:schemeClr val="bg1"/>
                      </a:solidFill>
                    </a:rPr>
                    <a:t>4</a:t>
                  </a:r>
                  <a:endParaRPr lang="zh-CN" alt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" name="íṩliḋè">
                  <a:extLst>
                    <a:ext uri="{FF2B5EF4-FFF2-40B4-BE49-F238E27FC236}">
                      <a16:creationId xmlns:a16="http://schemas.microsoft.com/office/drawing/2014/main" id="{078F4C2E-ED00-4E15-9ED7-8B437CFA3FBA}"/>
                    </a:ext>
                  </a:extLst>
                </p:cNvPr>
                <p:cNvSpPr/>
                <p:nvPr/>
              </p:nvSpPr>
              <p:spPr bwMode="auto">
                <a:xfrm>
                  <a:off x="1421772" y="4276257"/>
                  <a:ext cx="2304306" cy="4557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zh-CN" altLang="en-US" sz="2800" smtClean="0">
                      <a:latin typeface="方正粗黑宋简体" panose="02000000000000000000" pitchFamily="2" charset="-122"/>
                      <a:ea typeface="方正粗黑宋简体" panose="02000000000000000000" pitchFamily="2" charset="-122"/>
                    </a:rPr>
                    <a:t>代码解析</a:t>
                  </a:r>
                  <a:endParaRPr lang="en-US" altLang="zh-CN" sz="2800" dirty="0">
                    <a:latin typeface="方正粗黑宋简体" panose="02000000000000000000" pitchFamily="2" charset="-122"/>
                    <a:ea typeface="方正粗黑宋简体" panose="02000000000000000000" pitchFamily="2" charset="-122"/>
                  </a:endParaRPr>
                </a:p>
              </p:txBody>
            </p:sp>
            <p:grpSp>
              <p:nvGrpSpPr>
                <p:cNvPr id="22" name="iṥļiḋè">
                  <a:extLst>
                    <a:ext uri="{FF2B5EF4-FFF2-40B4-BE49-F238E27FC236}">
                      <a16:creationId xmlns:a16="http://schemas.microsoft.com/office/drawing/2014/main" id="{AC12CBFC-8D9C-45E2-AD99-F97985F4861D}"/>
                    </a:ext>
                  </a:extLst>
                </p:cNvPr>
                <p:cNvGrpSpPr/>
                <p:nvPr/>
              </p:nvGrpSpPr>
              <p:grpSpPr>
                <a:xfrm>
                  <a:off x="1540741" y="2324290"/>
                  <a:ext cx="3714190" cy="1743880"/>
                  <a:chOff x="6696635" y="2324290"/>
                  <a:chExt cx="4822265" cy="1743880"/>
                </a:xfrm>
              </p:grpSpPr>
              <p:cxnSp>
                <p:nvCxnSpPr>
                  <p:cNvPr id="23" name="直接连接符 22">
                    <a:extLst>
                      <a:ext uri="{FF2B5EF4-FFF2-40B4-BE49-F238E27FC236}">
                        <a16:creationId xmlns:a16="http://schemas.microsoft.com/office/drawing/2014/main" id="{5B34586B-AB8A-49F5-870E-6BD16FD83FF8}"/>
                      </a:ext>
                    </a:extLst>
                  </p:cNvPr>
                  <p:cNvCxnSpPr/>
                  <p:nvPr/>
                </p:nvCxnSpPr>
                <p:spPr>
                  <a:xfrm>
                    <a:off x="6696635" y="2324290"/>
                    <a:ext cx="4822265" cy="0"/>
                  </a:xfrm>
                  <a:prstGeom prst="line">
                    <a:avLst/>
                  </a:prstGeom>
                  <a:ln w="3175" cap="rnd">
                    <a:solidFill>
                      <a:schemeClr val="bg1">
                        <a:lumMod val="7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" name="直接连接符 23">
                    <a:extLst>
                      <a:ext uri="{FF2B5EF4-FFF2-40B4-BE49-F238E27FC236}">
                        <a16:creationId xmlns:a16="http://schemas.microsoft.com/office/drawing/2014/main" id="{5EAC8F13-B3CF-43E7-91BB-842613A95724}"/>
                      </a:ext>
                    </a:extLst>
                  </p:cNvPr>
                  <p:cNvCxnSpPr/>
                  <p:nvPr/>
                </p:nvCxnSpPr>
                <p:spPr>
                  <a:xfrm>
                    <a:off x="6696635" y="3196230"/>
                    <a:ext cx="4822265" cy="0"/>
                  </a:xfrm>
                  <a:prstGeom prst="line">
                    <a:avLst/>
                  </a:prstGeom>
                  <a:ln w="3175" cap="rnd">
                    <a:solidFill>
                      <a:schemeClr val="bg1">
                        <a:lumMod val="7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5" name="直接连接符 24">
                    <a:extLst>
                      <a:ext uri="{FF2B5EF4-FFF2-40B4-BE49-F238E27FC236}">
                        <a16:creationId xmlns:a16="http://schemas.microsoft.com/office/drawing/2014/main" id="{3861A5D4-E71F-4D11-96AD-5C563C9A9B57}"/>
                      </a:ext>
                    </a:extLst>
                  </p:cNvPr>
                  <p:cNvCxnSpPr/>
                  <p:nvPr/>
                </p:nvCxnSpPr>
                <p:spPr>
                  <a:xfrm>
                    <a:off x="6696635" y="4068170"/>
                    <a:ext cx="4822265" cy="0"/>
                  </a:xfrm>
                  <a:prstGeom prst="line">
                    <a:avLst/>
                  </a:prstGeom>
                  <a:ln w="3175" cap="rnd">
                    <a:solidFill>
                      <a:schemeClr val="bg1">
                        <a:lumMod val="75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</p:spTree>
    <p:extLst>
      <p:ext uri="{BB962C8B-B14F-4D97-AF65-F5344CB8AC3E}">
        <p14:creationId xmlns:p14="http://schemas.microsoft.com/office/powerpoint/2010/main" val="398631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5400" dirty="0">
                <a:latin typeface="Arial Black" panose="020B0A04020102020204" pitchFamily="34" charset="0"/>
              </a:rPr>
              <a:t>Thanks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sz="4800" dirty="0">
                <a:solidFill>
                  <a:schemeClr val="bg1"/>
                </a:solidFill>
              </a:rPr>
              <a:t>- </a:t>
            </a:r>
            <a:r>
              <a:rPr lang="en-US" altLang="zh-CN" dirty="0">
                <a:solidFill>
                  <a:schemeClr val="bg1"/>
                </a:solidFill>
              </a:rPr>
              <a:t>Human Resource Management System -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673100" y="5147537"/>
            <a:ext cx="10845798" cy="310871"/>
          </a:xfrm>
        </p:spPr>
        <p:txBody>
          <a:bodyPr>
            <a:noAutofit/>
          </a:bodyPr>
          <a:lstStyle/>
          <a:p>
            <a:r>
              <a:rPr lang="en-US" altLang="zh-CN" sz="2000" spc="300" smtClean="0"/>
              <a:t>2019-7-16</a:t>
            </a:r>
            <a:endParaRPr lang="en-US" altLang="en-US" sz="2000" spc="3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2800" b="1" spc="3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王彤 徐文文 师普</a:t>
            </a:r>
            <a:endParaRPr lang="en-US" altLang="zh-CN" sz="2800" b="1" spc="300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>
            <a:extLst>
              <a:ext uri="{FF2B5EF4-FFF2-40B4-BE49-F238E27FC236}">
                <a16:creationId xmlns:a16="http://schemas.microsoft.com/office/drawing/2014/main" id="{FF10B8FB-2273-41B7-8E1F-926DBE7889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E0FF230A-246B-4B62-806B-74825E33A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设计思路</a:t>
            </a:r>
            <a:endParaRPr lang="zh-CN" altLang="en-US" b="0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18" name="文本占位符 17">
            <a:extLst>
              <a:ext uri="{FF2B5EF4-FFF2-40B4-BE49-F238E27FC236}">
                <a16:creationId xmlns:a16="http://schemas.microsoft.com/office/drawing/2014/main" id="{BA7A27FB-D900-4265-A649-5670F758F5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42552" y="4305568"/>
            <a:ext cx="4432124" cy="471882"/>
          </a:xfrm>
        </p:spPr>
        <p:txBody>
          <a:bodyPr/>
          <a:lstStyle/>
          <a:p>
            <a:r>
              <a:rPr lang="en-US" altLang="zh-CN" smtClean="0"/>
              <a:t>The </a:t>
            </a:r>
            <a:r>
              <a:rPr lang="en-US" altLang="zh-CN" smtClean="0"/>
              <a:t>design </a:t>
            </a:r>
            <a:r>
              <a:rPr lang="en-US" altLang="zh-CN" dirty="0"/>
              <a:t>of </a:t>
            </a:r>
            <a:r>
              <a:rPr lang="en-US" altLang="zh-CN" dirty="0" smtClean="0"/>
              <a:t>the system </a:t>
            </a:r>
            <a:endParaRPr lang="en-US" altLang="zh-CN" dirty="0"/>
          </a:p>
        </p:txBody>
      </p:sp>
      <p:sp>
        <p:nvSpPr>
          <p:cNvPr id="23" name="文本占位符 22">
            <a:extLst>
              <a:ext uri="{FF2B5EF4-FFF2-40B4-BE49-F238E27FC236}">
                <a16:creationId xmlns:a16="http://schemas.microsoft.com/office/drawing/2014/main" id="{CD512192-B602-40AF-AD7D-06B990B43C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zh-CN" altLang="en-US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人力资源管理系统开发</a:t>
            </a:r>
            <a:endParaRPr lang="zh-CN" altLang="en-US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820D1AB-7AB0-46B9-A544-5A22C9D2AD6A}"/>
              </a:ext>
            </a:extLst>
          </p:cNvPr>
          <p:cNvSpPr/>
          <p:nvPr/>
        </p:nvSpPr>
        <p:spPr>
          <a:xfrm>
            <a:off x="673100" y="5999480"/>
            <a:ext cx="134620" cy="1346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2D46A45-1469-4EBB-8A8D-82D3787D02BA}"/>
              </a:ext>
            </a:extLst>
          </p:cNvPr>
          <p:cNvSpPr/>
          <p:nvPr/>
        </p:nvSpPr>
        <p:spPr>
          <a:xfrm>
            <a:off x="875031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2289554-1D42-469B-83B0-740899C01652}"/>
              </a:ext>
            </a:extLst>
          </p:cNvPr>
          <p:cNvSpPr/>
          <p:nvPr/>
        </p:nvSpPr>
        <p:spPr>
          <a:xfrm>
            <a:off x="107696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C5FF172-CB5F-43BB-81CB-9E1FFA866959}"/>
              </a:ext>
            </a:extLst>
          </p:cNvPr>
          <p:cNvSpPr/>
          <p:nvPr/>
        </p:nvSpPr>
        <p:spPr>
          <a:xfrm>
            <a:off x="127889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6372E00D-D69E-4470-A41F-1819A83C2FA3}"/>
              </a:ext>
            </a:extLst>
          </p:cNvPr>
          <p:cNvSpPr/>
          <p:nvPr/>
        </p:nvSpPr>
        <p:spPr>
          <a:xfrm>
            <a:off x="148082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207B1B1-F689-46DE-956A-24EC1FBD99EA}"/>
              </a:ext>
            </a:extLst>
          </p:cNvPr>
          <p:cNvSpPr/>
          <p:nvPr/>
        </p:nvSpPr>
        <p:spPr>
          <a:xfrm>
            <a:off x="168275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127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设计思路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——</a:t>
            </a:r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活动图</a:t>
            </a:r>
            <a:endParaRPr lang="zh-CN" altLang="en-US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grpSp>
        <p:nvGrpSpPr>
          <p:cNvPr id="7" name="组合 6"/>
          <p:cNvGrpSpPr/>
          <p:nvPr/>
        </p:nvGrpSpPr>
        <p:grpSpPr>
          <a:xfrm>
            <a:off x="6090743" y="109450"/>
            <a:ext cx="6070777" cy="6624798"/>
            <a:chOff x="6210579" y="0"/>
            <a:chExt cx="6070777" cy="6624798"/>
          </a:xfrm>
        </p:grpSpPr>
        <p:pic>
          <p:nvPicPr>
            <p:cNvPr id="4098" name="图片 1" descr="E:\important document\信息系统分析与设计\信息系统分析与设计0330\cc\活动图2.gif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809" b="22029"/>
            <a:stretch/>
          </p:blipFill>
          <p:spPr bwMode="auto">
            <a:xfrm>
              <a:off x="6210579" y="0"/>
              <a:ext cx="6055992" cy="6384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99" name="图片 2" descr="E:\important document\信息系统分析与设计\信息系统分析与设计0330\cc\活动图2.gif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6985" r="8510" b="-6"/>
            <a:stretch/>
          </p:blipFill>
          <p:spPr bwMode="auto">
            <a:xfrm>
              <a:off x="6210580" y="6378098"/>
              <a:ext cx="6070776" cy="246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27068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485844" y="1560753"/>
            <a:ext cx="4103800" cy="4697757"/>
            <a:chOff x="5160980" y="1513479"/>
            <a:chExt cx="4103800" cy="4697757"/>
          </a:xfrm>
        </p:grpSpPr>
        <p:grpSp>
          <p:nvGrpSpPr>
            <p:cNvPr id="12" name="iṩ1ïḍê"/>
            <p:cNvGrpSpPr/>
            <p:nvPr/>
          </p:nvGrpSpPr>
          <p:grpSpPr>
            <a:xfrm>
              <a:off x="5160980" y="1513479"/>
              <a:ext cx="4103800" cy="2268771"/>
              <a:chOff x="5160980" y="1334687"/>
              <a:chExt cx="4103800" cy="2268771"/>
            </a:xfrm>
          </p:grpSpPr>
          <p:sp>
            <p:nvSpPr>
              <p:cNvPr id="23" name="íSľîďê"/>
              <p:cNvSpPr/>
              <p:nvPr/>
            </p:nvSpPr>
            <p:spPr>
              <a:xfrm>
                <a:off x="5160980" y="1554842"/>
                <a:ext cx="646981" cy="646981"/>
              </a:xfrm>
              <a:prstGeom prst="rect">
                <a:avLst/>
              </a:prstGeom>
              <a:solidFill>
                <a:srgbClr val="01133F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000" b="1" dirty="0">
                    <a:solidFill>
                      <a:schemeClr val="bg1"/>
                    </a:solidFill>
                  </a:rPr>
                  <a:t>1</a:t>
                </a: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24" name="îṧlîḑé"/>
              <p:cNvGrpSpPr/>
              <p:nvPr/>
            </p:nvGrpSpPr>
            <p:grpSpPr>
              <a:xfrm>
                <a:off x="5954610" y="1334687"/>
                <a:ext cx="3310170" cy="2268771"/>
                <a:chOff x="8208730" y="2224260"/>
                <a:chExt cx="3310170" cy="2268771"/>
              </a:xfrm>
            </p:grpSpPr>
            <p:sp>
              <p:nvSpPr>
                <p:cNvPr id="25" name="iŝļiḍè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8208730" y="2224260"/>
                  <a:ext cx="3310170" cy="41762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3200" b="1" dirty="0" smtClean="0">
                      <a:latin typeface="方正粗黑宋简体" panose="02000000000000000000" pitchFamily="2" charset="-122"/>
                      <a:ea typeface="方正粗黑宋简体" panose="02000000000000000000" pitchFamily="2" charset="-122"/>
                    </a:rPr>
                    <a:t>应聘者</a:t>
                  </a:r>
                  <a:endParaRPr lang="id-ID" sz="3200" b="1" dirty="0">
                    <a:latin typeface="方正粗黑宋简体" panose="02000000000000000000" pitchFamily="2" charset="-122"/>
                    <a:ea typeface="方正粗黑宋简体" panose="02000000000000000000" pitchFamily="2" charset="-122"/>
                  </a:endParaRPr>
                </a:p>
              </p:txBody>
            </p:sp>
            <p:sp>
              <p:nvSpPr>
                <p:cNvPr id="26" name="íSḻídê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8208730" y="2641886"/>
                  <a:ext cx="3310170" cy="185114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提交注册信息</a:t>
                  </a:r>
                  <a:endParaRPr lang="en-US" altLang="zh-CN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endParaRP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查看部门信息</a:t>
                  </a:r>
                  <a:endParaRPr lang="en-US" altLang="zh-CN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endParaRP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查看岗位信息</a:t>
                  </a:r>
                  <a:endParaRPr lang="en-US" altLang="zh-CN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endParaRP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提交岗位申请</a:t>
                  </a:r>
                  <a:endParaRPr lang="en-US" altLang="zh-CN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endParaRP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查看通知信息</a:t>
                  </a:r>
                  <a:endParaRPr lang="en-US" altLang="zh-CN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endParaRPr>
                </a:p>
                <a:p>
                  <a:pPr>
                    <a:lnSpc>
                      <a:spcPct val="150000"/>
                    </a:lnSpc>
                  </a:pPr>
                  <a:endParaRPr lang="en-US" altLang="zh-CN" sz="1100" dirty="0" smtClean="0"/>
                </a:p>
                <a:p>
                  <a:pPr>
                    <a:lnSpc>
                      <a:spcPct val="150000"/>
                    </a:lnSpc>
                  </a:pPr>
                  <a:endParaRPr lang="en-US" altLang="zh-CN" sz="1100" dirty="0"/>
                </a:p>
              </p:txBody>
            </p:sp>
          </p:grpSp>
        </p:grpSp>
        <p:grpSp>
          <p:nvGrpSpPr>
            <p:cNvPr id="13" name="íṣľídé"/>
            <p:cNvGrpSpPr/>
            <p:nvPr/>
          </p:nvGrpSpPr>
          <p:grpSpPr>
            <a:xfrm>
              <a:off x="5160980" y="3939911"/>
              <a:ext cx="4103800" cy="2271325"/>
              <a:chOff x="5160980" y="2201805"/>
              <a:chExt cx="4103800" cy="2271325"/>
            </a:xfrm>
          </p:grpSpPr>
          <p:sp>
            <p:nvSpPr>
              <p:cNvPr id="19" name="ïs1ïdé"/>
              <p:cNvSpPr/>
              <p:nvPr/>
            </p:nvSpPr>
            <p:spPr>
              <a:xfrm>
                <a:off x="5160980" y="2421960"/>
                <a:ext cx="646981" cy="646981"/>
              </a:xfrm>
              <a:prstGeom prst="rect">
                <a:avLst/>
              </a:prstGeom>
              <a:solidFill>
                <a:srgbClr val="041743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000" b="1" dirty="0">
                    <a:solidFill>
                      <a:schemeClr val="bg1"/>
                    </a:solidFill>
                  </a:rPr>
                  <a:t>2</a:t>
                </a: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20" name="iś1îďe"/>
              <p:cNvGrpSpPr/>
              <p:nvPr/>
            </p:nvGrpSpPr>
            <p:grpSpPr>
              <a:xfrm>
                <a:off x="5954610" y="2201805"/>
                <a:ext cx="3310170" cy="2271325"/>
                <a:chOff x="8208730" y="3091378"/>
                <a:chExt cx="3310170" cy="2271325"/>
              </a:xfrm>
            </p:grpSpPr>
            <p:sp>
              <p:nvSpPr>
                <p:cNvPr id="21" name="íSľíḍê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8208730" y="3091378"/>
                  <a:ext cx="3310170" cy="41762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3200" b="1" dirty="0" smtClean="0">
                      <a:latin typeface="方正粗黑宋简体" panose="02000000000000000000" pitchFamily="2" charset="-122"/>
                      <a:ea typeface="方正粗黑宋简体" panose="02000000000000000000" pitchFamily="2" charset="-122"/>
                    </a:rPr>
                    <a:t>人力资源管理员</a:t>
                  </a:r>
                  <a:endParaRPr lang="id-ID" sz="3200" b="1" dirty="0">
                    <a:latin typeface="方正粗黑宋简体" panose="02000000000000000000" pitchFamily="2" charset="-122"/>
                    <a:ea typeface="方正粗黑宋简体" panose="02000000000000000000" pitchFamily="2" charset="-122"/>
                  </a:endParaRPr>
                </a:p>
              </p:txBody>
            </p:sp>
            <p:sp>
              <p:nvSpPr>
                <p:cNvPr id="22" name="îš1ïḑé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8208730" y="3509004"/>
                  <a:ext cx="3310170" cy="18536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查看员工信息</a:t>
                  </a:r>
                  <a:endParaRPr lang="en-US" altLang="zh-CN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endParaRP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审核并修改员工状态</a:t>
                  </a:r>
                  <a:endParaRPr lang="en-US" altLang="zh-CN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endParaRP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增加、修改、删除员工信息</a:t>
                  </a:r>
                  <a:endParaRPr lang="en-US" altLang="zh-CN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endParaRP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600" b="1" dirty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增加、修改、</a:t>
                  </a: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删除</a:t>
                  </a:r>
                  <a:r>
                    <a:rPr lang="zh-CN" altLang="en-US" sz="1600" b="1" dirty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部门</a:t>
                  </a: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信息</a:t>
                  </a:r>
                  <a:endParaRPr lang="en-US" altLang="zh-CN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endParaRP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600" b="1" dirty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增加、修改、</a:t>
                  </a: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删除</a:t>
                  </a:r>
                  <a:r>
                    <a:rPr lang="zh-CN" altLang="en-US" sz="1600" b="1" dirty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岗位</a:t>
                  </a:r>
                  <a:r>
                    <a:rPr lang="zh-CN" altLang="en-US" sz="1600" b="1" dirty="0" smtClean="0">
                      <a:latin typeface="方正宋刻本秀楷简体" panose="02000000000000000000" pitchFamily="2" charset="-122"/>
                      <a:ea typeface="方正宋刻本秀楷简体" panose="02000000000000000000" pitchFamily="2" charset="-122"/>
                    </a:rPr>
                    <a:t>信息</a:t>
                  </a:r>
                  <a:endParaRPr lang="en-US" altLang="zh-CN" sz="1600" b="1" dirty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endParaRPr>
                </a:p>
                <a:p>
                  <a:pPr>
                    <a:lnSpc>
                      <a:spcPct val="150000"/>
                    </a:lnSpc>
                  </a:pPr>
                  <a:endParaRPr lang="en-US" altLang="zh-CN" sz="1600" dirty="0"/>
                </a:p>
                <a:p>
                  <a:pPr>
                    <a:lnSpc>
                      <a:spcPct val="150000"/>
                    </a:lnSpc>
                  </a:pPr>
                  <a:endParaRPr lang="en-US" altLang="zh-CN" sz="1600" dirty="0" smtClean="0"/>
                </a:p>
                <a:p>
                  <a:pPr>
                    <a:lnSpc>
                      <a:spcPct val="150000"/>
                    </a:lnSpc>
                  </a:pPr>
                  <a:endParaRPr lang="en-US" altLang="zh-CN" sz="1600" dirty="0"/>
                </a:p>
              </p:txBody>
            </p:sp>
          </p:grpSp>
        </p:grpSp>
      </p:grpSp>
      <p:sp>
        <p:nvSpPr>
          <p:cNvPr id="27" name="iŝ1ide"/>
          <p:cNvSpPr/>
          <p:nvPr/>
        </p:nvSpPr>
        <p:spPr>
          <a:xfrm>
            <a:off x="-2926" y="0"/>
            <a:ext cx="381298" cy="6858000"/>
          </a:xfrm>
          <a:prstGeom prst="rect">
            <a:avLst/>
          </a:prstGeom>
          <a:blipFill>
            <a:blip r:embed="rId4"/>
            <a:srcRect/>
            <a:stretch>
              <a:fillRect l="2" t="-114297" r="-2745441" b="-53011"/>
            </a:stretch>
          </a:blipFill>
          <a:ln w="2857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 defTabSz="914377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1657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设计思路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——</a:t>
            </a:r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用户故事表示</a:t>
            </a:r>
            <a:endParaRPr lang="zh-CN" altLang="en-US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358549"/>
            <a:ext cx="2791527" cy="4881914"/>
          </a:xfrm>
          <a:prstGeom prst="rect">
            <a:avLst/>
          </a:prstGeom>
        </p:spPr>
      </p:pic>
      <p:sp>
        <p:nvSpPr>
          <p:cNvPr id="24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3272702" y="1424334"/>
            <a:ext cx="3727188" cy="41762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3600" b="1" dirty="0" smtClean="0">
                <a:solidFill>
                  <a:srgbClr val="00103C"/>
                </a:solidFill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人力资源管理员</a:t>
            </a:r>
            <a:endParaRPr lang="id-ID" sz="3600" b="1" dirty="0">
              <a:solidFill>
                <a:srgbClr val="00103C"/>
              </a:solidFill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25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4110899" y="2183892"/>
            <a:ext cx="6404699" cy="41762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我需要审核并查看应聘者申请</a:t>
            </a:r>
            <a:endParaRPr lang="id-ID" sz="3600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6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787301" y="2981332"/>
            <a:ext cx="6404699" cy="41762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我需要查看全部员工的信息</a:t>
            </a:r>
            <a:endParaRPr lang="id-ID" sz="3600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8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4110898" y="3921755"/>
            <a:ext cx="6404699" cy="41762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我可以修改、删除员工信息</a:t>
            </a:r>
            <a:endParaRPr lang="en-US" altLang="zh-CN" sz="3600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9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4917723" y="4301874"/>
            <a:ext cx="7385752" cy="834642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我可以增加、修改、删除部门信息</a:t>
            </a:r>
            <a:endParaRPr lang="zh-CN" altLang="en-US" sz="3600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30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4134735" y="5591040"/>
            <a:ext cx="7385752" cy="43961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我可以增加</a:t>
            </a:r>
            <a:r>
              <a:rPr lang="zh-CN" altLang="en-US" sz="3600" b="1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、修改、删除岗位</a:t>
            </a:r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信息</a:t>
            </a:r>
            <a:endParaRPr lang="en-US" altLang="zh-CN" sz="3600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grpSp>
        <p:nvGrpSpPr>
          <p:cNvPr id="11" name="27244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015536" y="2098607"/>
            <a:ext cx="9034147" cy="3712240"/>
            <a:chOff x="1710939" y="1833719"/>
            <a:chExt cx="8753605" cy="3596962"/>
          </a:xfrm>
        </p:grpSpPr>
        <p:cxnSp>
          <p:nvCxnSpPr>
            <p:cNvPr id="12" name="直接连接符 11"/>
            <p:cNvCxnSpPr>
              <a:stCxn id="37" idx="3"/>
              <a:endCxn id="18" idx="2"/>
            </p:cNvCxnSpPr>
            <p:nvPr/>
          </p:nvCxnSpPr>
          <p:spPr>
            <a:xfrm flipV="1">
              <a:off x="3854345" y="3621826"/>
              <a:ext cx="1458633" cy="10375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>
              <a:stCxn id="18" idx="6"/>
              <a:endCxn id="34" idx="1"/>
            </p:cNvCxnSpPr>
            <p:nvPr/>
          </p:nvCxnSpPr>
          <p:spPr>
            <a:xfrm>
              <a:off x="6868531" y="3621826"/>
              <a:ext cx="1452607" cy="10375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îŝļîḋê"/>
            <p:cNvSpPr/>
            <p:nvPr/>
          </p:nvSpPr>
          <p:spPr>
            <a:xfrm>
              <a:off x="4437898" y="2067514"/>
              <a:ext cx="1371452" cy="3108625"/>
            </a:xfrm>
            <a:prstGeom prst="arc">
              <a:avLst>
                <a:gd name="adj1" fmla="val 962184"/>
                <a:gd name="adj2" fmla="val 5432290"/>
              </a:avLst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913765"/>
              <a:endParaRPr lang="en-US" sz="1465">
                <a:solidFill>
                  <a:schemeClr val="bg1"/>
                </a:solidFill>
              </a:endParaRPr>
            </a:p>
          </p:txBody>
        </p:sp>
        <p:sp>
          <p:nvSpPr>
            <p:cNvPr id="15" name="îŝļïḍé"/>
            <p:cNvSpPr/>
            <p:nvPr/>
          </p:nvSpPr>
          <p:spPr>
            <a:xfrm>
              <a:off x="4437898" y="2067514"/>
              <a:ext cx="1371452" cy="3108625"/>
            </a:xfrm>
            <a:prstGeom prst="arc">
              <a:avLst>
                <a:gd name="adj1" fmla="val 16200000"/>
                <a:gd name="adj2" fmla="val 20517103"/>
              </a:avLst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lang="en-US" sz="1465">
                <a:solidFill>
                  <a:schemeClr val="bg1"/>
                </a:solidFill>
              </a:endParaRPr>
            </a:p>
          </p:txBody>
        </p:sp>
        <p:sp>
          <p:nvSpPr>
            <p:cNvPr id="16" name="î$ľîďè"/>
            <p:cNvSpPr/>
            <p:nvPr/>
          </p:nvSpPr>
          <p:spPr>
            <a:xfrm flipH="1">
              <a:off x="6366136" y="2067514"/>
              <a:ext cx="1371452" cy="3108625"/>
            </a:xfrm>
            <a:prstGeom prst="arc">
              <a:avLst>
                <a:gd name="adj1" fmla="val 16200000"/>
                <a:gd name="adj2" fmla="val 20450314"/>
              </a:avLst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lang="en-US" sz="1465">
                <a:solidFill>
                  <a:schemeClr val="bg1"/>
                </a:solidFill>
              </a:endParaRPr>
            </a:p>
          </p:txBody>
        </p:sp>
        <p:sp>
          <p:nvSpPr>
            <p:cNvPr id="17" name="ïşḻíḓé"/>
            <p:cNvSpPr/>
            <p:nvPr/>
          </p:nvSpPr>
          <p:spPr>
            <a:xfrm flipH="1">
              <a:off x="6366136" y="2067514"/>
              <a:ext cx="1371452" cy="3108625"/>
            </a:xfrm>
            <a:prstGeom prst="arc">
              <a:avLst>
                <a:gd name="adj1" fmla="val 1151936"/>
                <a:gd name="adj2" fmla="val 5432290"/>
              </a:avLst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913765"/>
              <a:endParaRPr lang="en-US" sz="1465">
                <a:solidFill>
                  <a:schemeClr val="bg1"/>
                </a:solidFill>
              </a:endParaRPr>
            </a:p>
          </p:txBody>
        </p:sp>
        <p:sp>
          <p:nvSpPr>
            <p:cNvPr id="18" name="íṡlïḋé"/>
            <p:cNvSpPr/>
            <p:nvPr/>
          </p:nvSpPr>
          <p:spPr>
            <a:xfrm>
              <a:off x="5312978" y="2841037"/>
              <a:ext cx="1555553" cy="156157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3765"/>
              <a:r>
                <a:rPr lang="zh-CN" altLang="en-US" dirty="0" smtClean="0">
                  <a:latin typeface="方正粗黑宋简体" panose="02000000000000000000" pitchFamily="2" charset="-122"/>
                  <a:ea typeface="方正粗黑宋简体" panose="02000000000000000000" pitchFamily="2" charset="-122"/>
                </a:rPr>
                <a:t>人力资源管理员</a:t>
              </a:r>
              <a:endParaRPr lang="en-US" dirty="0">
                <a:latin typeface="方正粗黑宋简体" panose="02000000000000000000" pitchFamily="2" charset="-122"/>
                <a:ea typeface="方正粗黑宋简体" panose="02000000000000000000" pitchFamily="2" charset="-122"/>
              </a:endParaRPr>
            </a:p>
          </p:txBody>
        </p:sp>
        <p:sp>
          <p:nvSpPr>
            <p:cNvPr id="19" name="îşliḓé"/>
            <p:cNvSpPr/>
            <p:nvPr/>
          </p:nvSpPr>
          <p:spPr bwMode="auto">
            <a:xfrm>
              <a:off x="7044939" y="4933165"/>
              <a:ext cx="1462881" cy="497516"/>
            </a:xfrm>
            <a:prstGeom prst="roundRect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vert="horz" wrap="square" lIns="91440" tIns="45720" rIns="91440" bIns="45720" numCol="1" rtlCol="0" anchor="ctr" anchorCtr="1" compatLnSpc="1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2400" b="1" dirty="0" smtClean="0">
                  <a:solidFill>
                    <a:schemeClr val="bg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查询</a:t>
              </a:r>
              <a:endParaRPr lang="en-US" sz="2400" b="1" dirty="0">
                <a:solidFill>
                  <a:schemeClr val="bg1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endParaRPr>
            </a:p>
          </p:txBody>
        </p:sp>
        <p:sp>
          <p:nvSpPr>
            <p:cNvPr id="20" name="iS1ïḓê"/>
            <p:cNvSpPr/>
            <p:nvPr/>
          </p:nvSpPr>
          <p:spPr bwMode="auto">
            <a:xfrm>
              <a:off x="7044939" y="1833719"/>
              <a:ext cx="1462881" cy="497516"/>
            </a:xfrm>
            <a:prstGeom prst="roundRect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vert="horz" wrap="square" lIns="91440" tIns="45720" rIns="91440" bIns="45720" numCol="1" rtlCol="0" anchor="ctr" anchorCtr="1" compatLnSpc="1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2400" b="1" dirty="0" smtClean="0">
                  <a:solidFill>
                    <a:schemeClr val="bg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删除</a:t>
              </a:r>
              <a:endParaRPr lang="en-US" sz="2400" b="1" dirty="0">
                <a:solidFill>
                  <a:schemeClr val="bg1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endParaRPr>
            </a:p>
          </p:txBody>
        </p:sp>
        <p:sp>
          <p:nvSpPr>
            <p:cNvPr id="21" name="îṣ1îḋê"/>
            <p:cNvSpPr/>
            <p:nvPr/>
          </p:nvSpPr>
          <p:spPr bwMode="auto">
            <a:xfrm>
              <a:off x="3667664" y="4933165"/>
              <a:ext cx="1462881" cy="497516"/>
            </a:xfrm>
            <a:prstGeom prst="roundRect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vert="horz" wrap="square" lIns="91440" tIns="45720" rIns="91440" bIns="45720" numCol="1" rtlCol="0" anchor="ctr" anchorCtr="1" compatLnSpc="1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2400" b="1" dirty="0" smtClean="0">
                  <a:solidFill>
                    <a:schemeClr val="bg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修改</a:t>
              </a:r>
              <a:endParaRPr lang="en-US" sz="2400" b="1" dirty="0">
                <a:solidFill>
                  <a:schemeClr val="bg1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endParaRPr>
            </a:p>
          </p:txBody>
        </p:sp>
        <p:sp>
          <p:nvSpPr>
            <p:cNvPr id="22" name="ïŝľiḑè"/>
            <p:cNvSpPr/>
            <p:nvPr/>
          </p:nvSpPr>
          <p:spPr bwMode="auto">
            <a:xfrm>
              <a:off x="3667664" y="1833719"/>
              <a:ext cx="1462881" cy="497516"/>
            </a:xfrm>
            <a:prstGeom prst="roundRect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vert="horz" wrap="square" lIns="91440" tIns="45720" rIns="91440" bIns="45720" numCol="1" rtlCol="0" anchor="ctr" anchorCtr="1" compatLnSpc="1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2400" b="1" dirty="0" smtClean="0">
                  <a:solidFill>
                    <a:schemeClr val="bg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rPr>
                <a:t>增加</a:t>
              </a:r>
              <a:endParaRPr lang="en-US" sz="2400" b="1" dirty="0">
                <a:solidFill>
                  <a:schemeClr val="bg1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endParaRPr>
            </a:p>
          </p:txBody>
        </p:sp>
        <p:grpSp>
          <p:nvGrpSpPr>
            <p:cNvPr id="27" name="işḷiḍê"/>
            <p:cNvGrpSpPr/>
            <p:nvPr/>
          </p:nvGrpSpPr>
          <p:grpSpPr>
            <a:xfrm>
              <a:off x="1710939" y="2831455"/>
              <a:ext cx="2143406" cy="1601490"/>
              <a:chOff x="1710939" y="2831455"/>
              <a:chExt cx="2143406" cy="1601490"/>
            </a:xfrm>
          </p:grpSpPr>
          <p:sp>
            <p:nvSpPr>
              <p:cNvPr id="35" name="îSḷíḋe"/>
              <p:cNvSpPr/>
              <p:nvPr/>
            </p:nvSpPr>
            <p:spPr bwMode="auto">
              <a:xfrm>
                <a:off x="1710939" y="2831455"/>
                <a:ext cx="2143406" cy="465786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2400" b="1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员工信息</a:t>
                </a:r>
                <a:endParaRPr lang="en-US" altLang="zh-CN" sz="2400" b="1" kern="0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36" name="íŝľîdê"/>
              <p:cNvSpPr/>
              <p:nvPr/>
            </p:nvSpPr>
            <p:spPr bwMode="auto">
              <a:xfrm>
                <a:off x="1710939" y="3967159"/>
                <a:ext cx="2143406" cy="465786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2400" b="1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部门信息</a:t>
                </a:r>
                <a:endParaRPr lang="en-US" altLang="zh-CN" sz="2400" b="1" kern="0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37" name="íš1îďé"/>
              <p:cNvSpPr/>
              <p:nvPr/>
            </p:nvSpPr>
            <p:spPr bwMode="auto">
              <a:xfrm>
                <a:off x="1710939" y="3399308"/>
                <a:ext cx="2143406" cy="465786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2400" b="1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岗位信息</a:t>
                </a:r>
                <a:endParaRPr lang="en-US" altLang="zh-CN" sz="2400" b="1" kern="0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</p:grpSp>
        <p:grpSp>
          <p:nvGrpSpPr>
            <p:cNvPr id="31" name="îŝḷíde"/>
            <p:cNvGrpSpPr/>
            <p:nvPr/>
          </p:nvGrpSpPr>
          <p:grpSpPr>
            <a:xfrm>
              <a:off x="8321138" y="2831455"/>
              <a:ext cx="2143406" cy="1601490"/>
              <a:chOff x="1710939" y="2831455"/>
              <a:chExt cx="2143406" cy="1601490"/>
            </a:xfrm>
          </p:grpSpPr>
          <p:sp>
            <p:nvSpPr>
              <p:cNvPr id="32" name="íśḷïḍé"/>
              <p:cNvSpPr/>
              <p:nvPr/>
            </p:nvSpPr>
            <p:spPr bwMode="auto">
              <a:xfrm>
                <a:off x="1710939" y="2831455"/>
                <a:ext cx="2143406" cy="465786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2400" b="1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申请状态</a:t>
                </a:r>
                <a:endParaRPr lang="en-US" altLang="zh-CN" sz="2400" b="1" kern="0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33" name="îśḷiḑé"/>
              <p:cNvSpPr/>
              <p:nvPr/>
            </p:nvSpPr>
            <p:spPr bwMode="auto">
              <a:xfrm>
                <a:off x="1710939" y="3967159"/>
                <a:ext cx="2143406" cy="465786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2400" b="1" kern="0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申请统计</a:t>
                </a:r>
                <a:endParaRPr lang="en-US" altLang="zh-CN" sz="2400" b="1" kern="0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34" name="iṥļíḋé"/>
              <p:cNvSpPr/>
              <p:nvPr/>
            </p:nvSpPr>
            <p:spPr bwMode="auto">
              <a:xfrm>
                <a:off x="1710939" y="3399308"/>
                <a:ext cx="2143406" cy="465786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2400" b="1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申请审核</a:t>
                </a:r>
                <a:endParaRPr lang="en-US" altLang="zh-CN" sz="2400" b="1" kern="0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27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5" grpId="1"/>
      <p:bldP spid="26" grpId="0"/>
      <p:bldP spid="26" grpId="1"/>
      <p:bldP spid="28" grpId="0"/>
      <p:bldP spid="28" grpId="1"/>
      <p:bldP spid="29" grpId="0"/>
      <p:bldP spid="29" grpId="1"/>
      <p:bldP spid="30" grpId="0"/>
      <p:bldP spid="30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设计思路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——</a:t>
            </a:r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用户故事表示</a:t>
            </a:r>
            <a:endParaRPr lang="zh-CN" altLang="en-US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14" r="30495"/>
          <a:stretch/>
        </p:blipFill>
        <p:spPr>
          <a:xfrm>
            <a:off x="1142891" y="283779"/>
            <a:ext cx="2412124" cy="6574221"/>
          </a:xfrm>
          <a:prstGeom prst="rect">
            <a:avLst/>
          </a:prstGeom>
        </p:spPr>
      </p:pic>
      <p:sp>
        <p:nvSpPr>
          <p:cNvPr id="9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3272702" y="1424334"/>
            <a:ext cx="3727188" cy="41762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3600" b="1" dirty="0">
                <a:solidFill>
                  <a:srgbClr val="00103C"/>
                </a:solidFill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应聘者</a:t>
            </a:r>
            <a:endParaRPr lang="id-ID" sz="3600" b="1" dirty="0">
              <a:solidFill>
                <a:srgbClr val="00103C"/>
              </a:solidFill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11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3797540" y="2370509"/>
            <a:ext cx="6404699" cy="41762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首先我需要提交注册信息</a:t>
            </a:r>
            <a:endParaRPr lang="id-ID" sz="3600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2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029200" y="3073049"/>
            <a:ext cx="6916955" cy="41762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然后我需要查看公司的部门信息</a:t>
            </a:r>
            <a:endParaRPr lang="id-ID" sz="3600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3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919828" y="3885155"/>
            <a:ext cx="6650544" cy="41762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查看公司的岗位招聘信息</a:t>
            </a:r>
            <a:endParaRPr lang="id-ID" sz="3600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4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4390573" y="4623670"/>
            <a:ext cx="6650544" cy="41762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我需要提交我的岗位申请</a:t>
            </a:r>
            <a:endParaRPr lang="id-ID" sz="3600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5" name="íSľíḍ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6298201" y="5362185"/>
            <a:ext cx="6650544" cy="417624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3600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我需要查看我的应聘状态</a:t>
            </a:r>
            <a:endParaRPr lang="id-ID" sz="3600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357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2" grpId="0"/>
      <p:bldP spid="13" grpId="0"/>
      <p:bldP spid="14" grpId="0"/>
      <p:bldP spid="1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设计思路</a:t>
            </a:r>
            <a:r>
              <a:rPr lang="en-US" altLang="zh-CN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——</a:t>
            </a:r>
            <a:r>
              <a:rPr lang="zh-CN" altLang="en-US" dirty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开发工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grpSp>
        <p:nvGrpSpPr>
          <p:cNvPr id="43" name="组合 42"/>
          <p:cNvGrpSpPr/>
          <p:nvPr/>
        </p:nvGrpSpPr>
        <p:grpSpPr>
          <a:xfrm>
            <a:off x="669924" y="1428809"/>
            <a:ext cx="11156815" cy="4853650"/>
            <a:chOff x="660400" y="1246169"/>
            <a:chExt cx="11156815" cy="4853650"/>
          </a:xfrm>
        </p:grpSpPr>
        <p:grpSp>
          <p:nvGrpSpPr>
            <p:cNvPr id="7" name="26700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60400" y="1247775"/>
              <a:ext cx="11156815" cy="4768850"/>
              <a:chOff x="660400" y="1247775"/>
              <a:chExt cx="11156815" cy="4768850"/>
            </a:xfrm>
          </p:grpSpPr>
          <p:sp>
            <p:nvSpPr>
              <p:cNvPr id="8" name="í$ḻíďe"/>
              <p:cNvSpPr/>
              <p:nvPr/>
            </p:nvSpPr>
            <p:spPr>
              <a:xfrm>
                <a:off x="6745177" y="1916752"/>
                <a:ext cx="2461885" cy="5734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zh-CN" altLang="en-US" b="1" dirty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工具：</a:t>
                </a:r>
                <a:r>
                  <a:rPr lang="en-US" altLang="zh-CN" b="1" dirty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Visio</a:t>
                </a:r>
              </a:p>
            </p:txBody>
          </p:sp>
          <p:sp>
            <p:nvSpPr>
              <p:cNvPr id="9" name="îśľide"/>
              <p:cNvSpPr/>
              <p:nvPr/>
            </p:nvSpPr>
            <p:spPr>
              <a:xfrm>
                <a:off x="6745177" y="1247775"/>
                <a:ext cx="2461885" cy="5734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zh-CN" altLang="en-US" b="1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框架：</a:t>
                </a:r>
                <a:r>
                  <a:rPr lang="en-US" altLang="zh-CN" b="1" dirty="0" err="1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BootStrap</a:t>
                </a:r>
                <a:endParaRPr b="1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10" name="iṥḷïḍé"/>
              <p:cNvSpPr/>
              <p:nvPr/>
            </p:nvSpPr>
            <p:spPr>
              <a:xfrm>
                <a:off x="6745177" y="2585729"/>
                <a:ext cx="2461885" cy="5734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r" defTabSz="914354"/>
                <a:r>
                  <a:rPr lang="zh-CN" altLang="en-US" b="1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工具：</a:t>
                </a:r>
                <a:r>
                  <a:rPr lang="en-US" altLang="zh-CN" b="1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Dreamweaver</a:t>
                </a:r>
                <a:endParaRPr lang="en-US" altLang="zh-CN" b="1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11" name="ïsľïďè"/>
              <p:cNvSpPr/>
              <p:nvPr/>
            </p:nvSpPr>
            <p:spPr>
              <a:xfrm>
                <a:off x="6586733" y="4774240"/>
                <a:ext cx="2620330" cy="5734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zh-CN" altLang="en-US" b="1" dirty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数据库：</a:t>
                </a:r>
                <a:r>
                  <a:rPr lang="en-US" altLang="zh-CN" b="1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MySQL</a:t>
                </a:r>
                <a:endParaRPr lang="en-US" altLang="zh-CN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12" name="i$ḷidê"/>
              <p:cNvSpPr/>
              <p:nvPr/>
            </p:nvSpPr>
            <p:spPr>
              <a:xfrm>
                <a:off x="6745177" y="4105263"/>
                <a:ext cx="2461885" cy="5734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zh-CN" altLang="en-US" b="1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语言：</a:t>
                </a:r>
                <a:r>
                  <a:rPr lang="en-US" altLang="zh-CN" b="1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Java</a:t>
                </a:r>
                <a:endParaRPr lang="en-US" altLang="zh-CN" b="1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13" name="ïṡḷiḓê"/>
              <p:cNvSpPr/>
              <p:nvPr/>
            </p:nvSpPr>
            <p:spPr>
              <a:xfrm>
                <a:off x="6745177" y="5443217"/>
                <a:ext cx="2461885" cy="5734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zh-CN" altLang="en-US" b="1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工具：</a:t>
                </a:r>
                <a:r>
                  <a:rPr lang="en-US" altLang="zh-CN" b="1" dirty="0" smtClean="0">
                    <a:solidFill>
                      <a:schemeClr val="tx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IDEA</a:t>
                </a:r>
                <a:endParaRPr lang="en-US" altLang="zh-CN" b="1" dirty="0">
                  <a:solidFill>
                    <a:schemeClr val="tx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14" name="í$ļiḓe"/>
              <p:cNvSpPr/>
              <p:nvPr/>
            </p:nvSpPr>
            <p:spPr>
              <a:xfrm>
                <a:off x="660400" y="3345496"/>
                <a:ext cx="2102500" cy="573408"/>
              </a:xfrm>
              <a:prstGeom prst="roundRect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zh-CN" altLang="en-US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开发工具</a:t>
                </a:r>
                <a:endParaRPr lang="en-US" altLang="zh-CN" b="1" dirty="0"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15" name="iṥlíḑè"/>
              <p:cNvSpPr/>
              <p:nvPr/>
            </p:nvSpPr>
            <p:spPr>
              <a:xfrm>
                <a:off x="3410769" y="1916752"/>
                <a:ext cx="2102500" cy="573408"/>
              </a:xfrm>
              <a:prstGeom prst="roundRect">
                <a:avLst/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 w="190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zh-CN" altLang="en-US" b="1" dirty="0" smtClean="0">
                    <a:solidFill>
                      <a:schemeClr val="accent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前端开发</a:t>
                </a:r>
                <a:endParaRPr lang="en-US" altLang="zh-CN" b="1" dirty="0">
                  <a:solidFill>
                    <a:schemeClr val="accent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16" name="ïŝlïḑê"/>
              <p:cNvSpPr/>
              <p:nvPr/>
            </p:nvSpPr>
            <p:spPr>
              <a:xfrm>
                <a:off x="3410769" y="4774240"/>
                <a:ext cx="2102500" cy="573408"/>
              </a:xfrm>
              <a:prstGeom prst="roundRect">
                <a:avLst/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 w="190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zh-CN" altLang="en-US" b="1" dirty="0" smtClean="0">
                    <a:solidFill>
                      <a:schemeClr val="accent1"/>
                    </a:solidFill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后端开发</a:t>
                </a:r>
                <a:endParaRPr lang="en-US" altLang="zh-CN" b="1" dirty="0">
                  <a:solidFill>
                    <a:schemeClr val="accent1"/>
                  </a:solidFill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17" name="íṣlíḍê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9250420" y="1328966"/>
                <a:ext cx="2489200" cy="4110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响应式、框架清晰</a:t>
                </a:r>
                <a:endParaRPr lang="en-US" altLang="zh-CN" sz="1600" b="1" dirty="0"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18" name="íṩ1îḋé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9250420" y="2645232"/>
                <a:ext cx="2489200" cy="4110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600" b="1" dirty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可</a:t>
                </a:r>
                <a:r>
                  <a:rPr lang="zh-CN" altLang="en-US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实时预览，代码提示</a:t>
                </a:r>
                <a:endParaRPr lang="en-US" altLang="zh-CN" sz="1600" b="1" dirty="0"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19" name="ísḷïḑe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9328015" y="1967499"/>
                <a:ext cx="2489200" cy="4110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界面原型设计</a:t>
                </a:r>
                <a:endParaRPr lang="en-US" altLang="zh-CN" sz="1600" b="1" dirty="0"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20" name="iṣľiḓ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9250420" y="4186454"/>
                <a:ext cx="2489200" cy="4110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有</a:t>
                </a:r>
                <a:r>
                  <a:rPr lang="en-US" altLang="zh-CN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Java</a:t>
                </a:r>
                <a:r>
                  <a:rPr lang="zh-CN" altLang="en-US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语言基础</a:t>
                </a:r>
                <a:endParaRPr lang="en-US" altLang="zh-CN" sz="1600" b="1" dirty="0"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21" name="iŝļiḍ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9250420" y="4855431"/>
                <a:ext cx="2489200" cy="4110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体积小，容易配置</a:t>
                </a:r>
                <a:endParaRPr lang="en-US" altLang="zh-CN" sz="1600" b="1" dirty="0"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sp>
            <p:nvSpPr>
              <p:cNvPr id="22" name="îSḻïḓe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9250420" y="5524408"/>
                <a:ext cx="2489200" cy="4110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600" b="1" dirty="0" smtClean="0">
                    <a:latin typeface="方正宋刻本秀楷简体" panose="02000000000000000000" pitchFamily="2" charset="-122"/>
                    <a:ea typeface="方正宋刻本秀楷简体" panose="02000000000000000000" pitchFamily="2" charset="-122"/>
                  </a:rPr>
                  <a:t>集成强大、智能提示</a:t>
                </a:r>
                <a:endParaRPr lang="en-US" altLang="zh-CN" sz="1600" b="1" dirty="0">
                  <a:latin typeface="方正宋刻本秀楷简体" panose="02000000000000000000" pitchFamily="2" charset="-122"/>
                  <a:ea typeface="方正宋刻本秀楷简体" panose="02000000000000000000" pitchFamily="2" charset="-122"/>
                </a:endParaRPr>
              </a:p>
            </p:txBody>
          </p:sp>
          <p:cxnSp>
            <p:nvCxnSpPr>
              <p:cNvPr id="23" name="肘形连接符 22">
                <a:extLst>
                  <a:ext uri="{FF2B5EF4-FFF2-40B4-BE49-F238E27FC236}">
                    <a16:creationId xmlns:a16="http://schemas.microsoft.com/office/drawing/2014/main" id="{3A5BC5C8-39E2-44E9-9DC4-2913E135C4D5}"/>
                  </a:ext>
                </a:extLst>
              </p:cNvPr>
              <p:cNvCxnSpPr>
                <a:cxnSpLocks/>
                <a:stCxn id="14" idx="3"/>
                <a:endCxn id="15" idx="1"/>
              </p:cNvCxnSpPr>
              <p:nvPr/>
            </p:nvCxnSpPr>
            <p:spPr>
              <a:xfrm flipV="1">
                <a:off x="2762900" y="2203456"/>
                <a:ext cx="647869" cy="1428744"/>
              </a:xfrm>
              <a:prstGeom prst="bentConnector3">
                <a:avLst/>
              </a:prstGeom>
              <a:ln w="19050" cap="rnd">
                <a:solidFill>
                  <a:schemeClr val="bg1">
                    <a:lumMod val="65000"/>
                  </a:schemeClr>
                </a:solidFill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肘形连接符 23">
                <a:extLst>
                  <a:ext uri="{FF2B5EF4-FFF2-40B4-BE49-F238E27FC236}">
                    <a16:creationId xmlns:a16="http://schemas.microsoft.com/office/drawing/2014/main" id="{B82B6262-0D08-4029-8612-15E885D792CB}"/>
                  </a:ext>
                </a:extLst>
              </p:cNvPr>
              <p:cNvCxnSpPr>
                <a:cxnSpLocks/>
                <a:stCxn id="14" idx="3"/>
                <a:endCxn id="16" idx="1"/>
              </p:cNvCxnSpPr>
              <p:nvPr/>
            </p:nvCxnSpPr>
            <p:spPr>
              <a:xfrm>
                <a:off x="2762900" y="3632200"/>
                <a:ext cx="647869" cy="1428744"/>
              </a:xfrm>
              <a:prstGeom prst="bentConnector3">
                <a:avLst/>
              </a:prstGeom>
              <a:ln w="19050" cap="rnd">
                <a:solidFill>
                  <a:schemeClr val="bg1">
                    <a:lumMod val="65000"/>
                  </a:schemeClr>
                </a:solidFill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肘形连接符 24">
                <a:extLst>
                  <a:ext uri="{FF2B5EF4-FFF2-40B4-BE49-F238E27FC236}">
                    <a16:creationId xmlns:a16="http://schemas.microsoft.com/office/drawing/2014/main" id="{3A06CE54-D6C9-4C7A-9530-32D1091ED342}"/>
                  </a:ext>
                </a:extLst>
              </p:cNvPr>
              <p:cNvCxnSpPr>
                <a:cxnSpLocks/>
                <a:stCxn id="15" idx="3"/>
                <a:endCxn id="31" idx="2"/>
              </p:cNvCxnSpPr>
              <p:nvPr/>
            </p:nvCxnSpPr>
            <p:spPr>
              <a:xfrm flipV="1">
                <a:off x="5513269" y="1532872"/>
                <a:ext cx="982396" cy="670584"/>
              </a:xfrm>
              <a:prstGeom prst="bentConnector3">
                <a:avLst/>
              </a:prstGeom>
              <a:ln w="19050" cap="rnd">
                <a:solidFill>
                  <a:schemeClr val="bg1">
                    <a:lumMod val="65000"/>
                  </a:schemeClr>
                </a:solidFill>
                <a:round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>
                <a:extLst>
                  <a:ext uri="{FF2B5EF4-FFF2-40B4-BE49-F238E27FC236}">
                    <a16:creationId xmlns:a16="http://schemas.microsoft.com/office/drawing/2014/main" id="{6AED81AF-4F62-454F-B05F-39A154A5FCC7}"/>
                  </a:ext>
                </a:extLst>
              </p:cNvPr>
              <p:cNvCxnSpPr>
                <a:cxnSpLocks/>
                <a:stCxn id="15" idx="3"/>
                <a:endCxn id="32" idx="2"/>
              </p:cNvCxnSpPr>
              <p:nvPr/>
            </p:nvCxnSpPr>
            <p:spPr>
              <a:xfrm>
                <a:off x="5513269" y="2203456"/>
                <a:ext cx="982396" cy="0"/>
              </a:xfrm>
              <a:prstGeom prst="line">
                <a:avLst/>
              </a:prstGeom>
              <a:ln w="19050" cap="rnd">
                <a:solidFill>
                  <a:schemeClr val="bg1">
                    <a:lumMod val="65000"/>
                  </a:schemeClr>
                </a:solidFill>
                <a:round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肘形连接符 26">
                <a:extLst>
                  <a:ext uri="{FF2B5EF4-FFF2-40B4-BE49-F238E27FC236}">
                    <a16:creationId xmlns:a16="http://schemas.microsoft.com/office/drawing/2014/main" id="{B4B9E4C5-1DD2-4052-9B18-3EC5CA28CA4F}"/>
                  </a:ext>
                </a:extLst>
              </p:cNvPr>
              <p:cNvCxnSpPr>
                <a:cxnSpLocks/>
                <a:stCxn id="15" idx="3"/>
                <a:endCxn id="33" idx="2"/>
              </p:cNvCxnSpPr>
              <p:nvPr/>
            </p:nvCxnSpPr>
            <p:spPr>
              <a:xfrm>
                <a:off x="5513269" y="2203456"/>
                <a:ext cx="982396" cy="668977"/>
              </a:xfrm>
              <a:prstGeom prst="bentConnector3">
                <a:avLst/>
              </a:prstGeom>
              <a:ln w="19050" cap="rnd">
                <a:solidFill>
                  <a:schemeClr val="bg1">
                    <a:lumMod val="65000"/>
                  </a:schemeClr>
                </a:solidFill>
                <a:round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肘形连接符 27">
                <a:extLst>
                  <a:ext uri="{FF2B5EF4-FFF2-40B4-BE49-F238E27FC236}">
                    <a16:creationId xmlns:a16="http://schemas.microsoft.com/office/drawing/2014/main" id="{3F6027C0-395A-4C8F-B5E4-60DA9261250A}"/>
                  </a:ext>
                </a:extLst>
              </p:cNvPr>
              <p:cNvCxnSpPr>
                <a:cxnSpLocks/>
                <a:stCxn id="16" idx="3"/>
                <a:endCxn id="34" idx="2"/>
              </p:cNvCxnSpPr>
              <p:nvPr/>
            </p:nvCxnSpPr>
            <p:spPr>
              <a:xfrm flipV="1">
                <a:off x="5513269" y="4391967"/>
                <a:ext cx="982396" cy="668977"/>
              </a:xfrm>
              <a:prstGeom prst="bentConnector3">
                <a:avLst/>
              </a:prstGeom>
              <a:ln w="19050" cap="rnd">
                <a:solidFill>
                  <a:schemeClr val="bg1">
                    <a:lumMod val="65000"/>
                  </a:schemeClr>
                </a:solidFill>
                <a:round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>
                <a:extLst>
                  <a:ext uri="{FF2B5EF4-FFF2-40B4-BE49-F238E27FC236}">
                    <a16:creationId xmlns:a16="http://schemas.microsoft.com/office/drawing/2014/main" id="{15E3320C-7BA9-45F3-8776-CBCA4F3C30BF}"/>
                  </a:ext>
                </a:extLst>
              </p:cNvPr>
              <p:cNvCxnSpPr>
                <a:cxnSpLocks/>
                <a:stCxn id="16" idx="3"/>
                <a:endCxn id="35" idx="2"/>
              </p:cNvCxnSpPr>
              <p:nvPr/>
            </p:nvCxnSpPr>
            <p:spPr>
              <a:xfrm>
                <a:off x="5513269" y="5060944"/>
                <a:ext cx="982396" cy="0"/>
              </a:xfrm>
              <a:prstGeom prst="line">
                <a:avLst/>
              </a:prstGeom>
              <a:ln w="19050" cap="rnd">
                <a:solidFill>
                  <a:schemeClr val="bg1">
                    <a:lumMod val="65000"/>
                  </a:schemeClr>
                </a:solidFill>
                <a:round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肘形连接符 29">
                <a:extLst>
                  <a:ext uri="{FF2B5EF4-FFF2-40B4-BE49-F238E27FC236}">
                    <a16:creationId xmlns:a16="http://schemas.microsoft.com/office/drawing/2014/main" id="{CAD3298D-EA75-4A76-8BCB-FB4D39B74560}"/>
                  </a:ext>
                </a:extLst>
              </p:cNvPr>
              <p:cNvCxnSpPr>
                <a:cxnSpLocks/>
                <a:stCxn id="16" idx="3"/>
                <a:endCxn id="36" idx="2"/>
              </p:cNvCxnSpPr>
              <p:nvPr/>
            </p:nvCxnSpPr>
            <p:spPr>
              <a:xfrm>
                <a:off x="5513269" y="5060944"/>
                <a:ext cx="982396" cy="668977"/>
              </a:xfrm>
              <a:prstGeom prst="bentConnector3">
                <a:avLst/>
              </a:prstGeom>
              <a:ln w="19050" cap="rnd">
                <a:solidFill>
                  <a:schemeClr val="bg1">
                    <a:lumMod val="65000"/>
                  </a:schemeClr>
                </a:solidFill>
                <a:round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îšḷïḓe">
                <a:extLst>
                  <a:ext uri="{FF2B5EF4-FFF2-40B4-BE49-F238E27FC236}">
                    <a16:creationId xmlns:a16="http://schemas.microsoft.com/office/drawing/2014/main" id="{229F06AD-EBDF-44FF-AC0C-C0A48B204F91}"/>
                  </a:ext>
                </a:extLst>
              </p:cNvPr>
              <p:cNvSpPr/>
              <p:nvPr/>
            </p:nvSpPr>
            <p:spPr>
              <a:xfrm>
                <a:off x="6495665" y="1283360"/>
                <a:ext cx="499024" cy="499024"/>
              </a:xfrm>
              <a:prstGeom prst="ellipse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28575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32" name="iṩlîďè">
                <a:extLst>
                  <a:ext uri="{FF2B5EF4-FFF2-40B4-BE49-F238E27FC236}">
                    <a16:creationId xmlns:a16="http://schemas.microsoft.com/office/drawing/2014/main" id="{6541782D-22A2-4D1D-A478-35EEE9615A06}"/>
                  </a:ext>
                </a:extLst>
              </p:cNvPr>
              <p:cNvSpPr/>
              <p:nvPr/>
            </p:nvSpPr>
            <p:spPr>
              <a:xfrm>
                <a:off x="6495665" y="1953944"/>
                <a:ext cx="499024" cy="499024"/>
              </a:xfrm>
              <a:prstGeom prst="ellipse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28575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33" name="îş1ïḓê">
                <a:extLst>
                  <a:ext uri="{FF2B5EF4-FFF2-40B4-BE49-F238E27FC236}">
                    <a16:creationId xmlns:a16="http://schemas.microsoft.com/office/drawing/2014/main" id="{B52461D0-6822-452F-9C12-4C7A411AD74A}"/>
                  </a:ext>
                </a:extLst>
              </p:cNvPr>
              <p:cNvSpPr/>
              <p:nvPr/>
            </p:nvSpPr>
            <p:spPr>
              <a:xfrm>
                <a:off x="6495665" y="2622921"/>
                <a:ext cx="499024" cy="499024"/>
              </a:xfrm>
              <a:prstGeom prst="ellipse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28575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34" name="ísḻïḋê">
                <a:extLst>
                  <a:ext uri="{FF2B5EF4-FFF2-40B4-BE49-F238E27FC236}">
                    <a16:creationId xmlns:a16="http://schemas.microsoft.com/office/drawing/2014/main" id="{747FFEED-815F-44E0-BBCC-048E5B127663}"/>
                  </a:ext>
                </a:extLst>
              </p:cNvPr>
              <p:cNvSpPr/>
              <p:nvPr/>
            </p:nvSpPr>
            <p:spPr>
              <a:xfrm>
                <a:off x="6495665" y="4142455"/>
                <a:ext cx="499024" cy="499024"/>
              </a:xfrm>
              <a:prstGeom prst="ellipse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28575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35" name="is1ïďe">
                <a:extLst>
                  <a:ext uri="{FF2B5EF4-FFF2-40B4-BE49-F238E27FC236}">
                    <a16:creationId xmlns:a16="http://schemas.microsoft.com/office/drawing/2014/main" id="{EB39F5EA-DC63-402A-AD5B-4204117A75B3}"/>
                  </a:ext>
                </a:extLst>
              </p:cNvPr>
              <p:cNvSpPr/>
              <p:nvPr/>
            </p:nvSpPr>
            <p:spPr>
              <a:xfrm>
                <a:off x="6495665" y="4811432"/>
                <a:ext cx="499024" cy="499024"/>
              </a:xfrm>
              <a:prstGeom prst="ellipse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28575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36" name="ïṣľîḋé">
                <a:extLst>
                  <a:ext uri="{FF2B5EF4-FFF2-40B4-BE49-F238E27FC236}">
                    <a16:creationId xmlns:a16="http://schemas.microsoft.com/office/drawing/2014/main" id="{52F68619-473B-44BC-9DE6-B10CA3D897CA}"/>
                  </a:ext>
                </a:extLst>
              </p:cNvPr>
              <p:cNvSpPr/>
              <p:nvPr/>
            </p:nvSpPr>
            <p:spPr>
              <a:xfrm>
                <a:off x="6495665" y="5480409"/>
                <a:ext cx="499024" cy="499024"/>
              </a:xfrm>
              <a:prstGeom prst="ellipse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28575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</p:grp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1972" y="1246169"/>
              <a:ext cx="609655" cy="575014"/>
            </a:xfrm>
            <a:prstGeom prst="rect">
              <a:avLst/>
            </a:prstGeom>
          </p:spPr>
        </p:pic>
        <p:pic>
          <p:nvPicPr>
            <p:cNvPr id="37" name="图片 3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5183" y="2564604"/>
              <a:ext cx="618842" cy="618842"/>
            </a:xfrm>
            <a:prstGeom prst="rect">
              <a:avLst/>
            </a:prstGeom>
          </p:spPr>
        </p:pic>
        <p:pic>
          <p:nvPicPr>
            <p:cNvPr id="38" name="图片 3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71431" y="5419215"/>
              <a:ext cx="651146" cy="680604"/>
            </a:xfrm>
            <a:prstGeom prst="rect">
              <a:avLst/>
            </a:prstGeom>
          </p:spPr>
        </p:pic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9379" y="4100264"/>
              <a:ext cx="575310" cy="541215"/>
            </a:xfrm>
            <a:prstGeom prst="rect">
              <a:avLst/>
            </a:prstGeom>
          </p:spPr>
        </p:pic>
        <p:pic>
          <p:nvPicPr>
            <p:cNvPr id="41" name="图片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7582" y="1884120"/>
              <a:ext cx="614045" cy="614045"/>
            </a:xfrm>
            <a:prstGeom prst="rect">
              <a:avLst/>
            </a:prstGeom>
          </p:spPr>
        </p:pic>
        <p:pic>
          <p:nvPicPr>
            <p:cNvPr id="42" name="图片 41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4598" y="4729692"/>
              <a:ext cx="590091" cy="5691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787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>
            <a:extLst>
              <a:ext uri="{FF2B5EF4-FFF2-40B4-BE49-F238E27FC236}">
                <a16:creationId xmlns:a16="http://schemas.microsoft.com/office/drawing/2014/main" id="{FF10B8FB-2273-41B7-8E1F-926DBE7889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02</a:t>
            </a:r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E0FF230A-246B-4B62-806B-74825E33A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实际开发</a:t>
            </a:r>
          </a:p>
        </p:txBody>
      </p:sp>
      <p:sp>
        <p:nvSpPr>
          <p:cNvPr id="18" name="文本占位符 17">
            <a:extLst>
              <a:ext uri="{FF2B5EF4-FFF2-40B4-BE49-F238E27FC236}">
                <a16:creationId xmlns:a16="http://schemas.microsoft.com/office/drawing/2014/main" id="{BA7A27FB-D900-4265-A649-5670F758F5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42552" y="4305568"/>
            <a:ext cx="4432124" cy="471882"/>
          </a:xfrm>
        </p:spPr>
        <p:txBody>
          <a:bodyPr/>
          <a:lstStyle/>
          <a:p>
            <a:r>
              <a:rPr lang="en-US" altLang="zh-CN" dirty="0" smtClean="0"/>
              <a:t>The Practical </a:t>
            </a:r>
            <a:r>
              <a:rPr lang="en-US" altLang="zh-CN" dirty="0"/>
              <a:t>development</a:t>
            </a:r>
          </a:p>
        </p:txBody>
      </p:sp>
      <p:sp>
        <p:nvSpPr>
          <p:cNvPr id="23" name="文本占位符 22">
            <a:extLst>
              <a:ext uri="{FF2B5EF4-FFF2-40B4-BE49-F238E27FC236}">
                <a16:creationId xmlns:a16="http://schemas.microsoft.com/office/drawing/2014/main" id="{CD512192-B602-40AF-AD7D-06B990B43C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zh-CN" altLang="en-US" b="1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人力资源管理系统开发</a:t>
            </a:r>
            <a:endParaRPr lang="zh-CN" altLang="en-US" b="1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820D1AB-7AB0-46B9-A544-5A22C9D2AD6A}"/>
              </a:ext>
            </a:extLst>
          </p:cNvPr>
          <p:cNvSpPr/>
          <p:nvPr/>
        </p:nvSpPr>
        <p:spPr>
          <a:xfrm>
            <a:off x="673100" y="5999480"/>
            <a:ext cx="134620" cy="1346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2D46A45-1469-4EBB-8A8D-82D3787D02BA}"/>
              </a:ext>
            </a:extLst>
          </p:cNvPr>
          <p:cNvSpPr/>
          <p:nvPr/>
        </p:nvSpPr>
        <p:spPr>
          <a:xfrm>
            <a:off x="875031" y="5999480"/>
            <a:ext cx="134620" cy="134620"/>
          </a:xfrm>
          <a:prstGeom prst="rect">
            <a:avLst/>
          </a:prstGeom>
          <a:solidFill>
            <a:srgbClr val="01113E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2289554-1D42-469B-83B0-740899C01652}"/>
              </a:ext>
            </a:extLst>
          </p:cNvPr>
          <p:cNvSpPr/>
          <p:nvPr/>
        </p:nvSpPr>
        <p:spPr>
          <a:xfrm>
            <a:off x="107696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C5FF172-CB5F-43BB-81CB-9E1FFA866959}"/>
              </a:ext>
            </a:extLst>
          </p:cNvPr>
          <p:cNvSpPr/>
          <p:nvPr/>
        </p:nvSpPr>
        <p:spPr>
          <a:xfrm>
            <a:off x="127889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6372E00D-D69E-4470-A41F-1819A83C2FA3}"/>
              </a:ext>
            </a:extLst>
          </p:cNvPr>
          <p:cNvSpPr/>
          <p:nvPr/>
        </p:nvSpPr>
        <p:spPr>
          <a:xfrm>
            <a:off x="148082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207B1B1-F689-46DE-956A-24EC1FBD99EA}"/>
              </a:ext>
            </a:extLst>
          </p:cNvPr>
          <p:cNvSpPr/>
          <p:nvPr/>
        </p:nvSpPr>
        <p:spPr>
          <a:xfrm>
            <a:off x="1682750" y="5999480"/>
            <a:ext cx="134620" cy="1346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354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搭建数据库</a:t>
            </a:r>
            <a:endParaRPr lang="zh-CN" altLang="en-US" dirty="0"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8304" y="1344597"/>
            <a:ext cx="7948913" cy="46815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1" name="组合 20"/>
          <p:cNvGrpSpPr/>
          <p:nvPr/>
        </p:nvGrpSpPr>
        <p:grpSpPr>
          <a:xfrm>
            <a:off x="439625" y="1677161"/>
            <a:ext cx="4103800" cy="4016439"/>
            <a:chOff x="230075" y="1132968"/>
            <a:chExt cx="4103800" cy="4016439"/>
          </a:xfrm>
        </p:grpSpPr>
        <p:grpSp>
          <p:nvGrpSpPr>
            <p:cNvPr id="8" name="27068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230075" y="1132968"/>
              <a:ext cx="4103800" cy="2921073"/>
              <a:chOff x="5160980" y="1295484"/>
              <a:chExt cx="4103800" cy="2921073"/>
            </a:xfrm>
          </p:grpSpPr>
          <p:grpSp>
            <p:nvGrpSpPr>
              <p:cNvPr id="9" name="iṩ1ïḍê"/>
              <p:cNvGrpSpPr/>
              <p:nvPr/>
            </p:nvGrpSpPr>
            <p:grpSpPr>
              <a:xfrm>
                <a:off x="5160980" y="1295484"/>
                <a:ext cx="4103800" cy="646981"/>
                <a:chOff x="5160980" y="1116692"/>
                <a:chExt cx="4103800" cy="646981"/>
              </a:xfrm>
            </p:grpSpPr>
            <p:sp>
              <p:nvSpPr>
                <p:cNvPr id="15" name="íSľîďê"/>
                <p:cNvSpPr/>
                <p:nvPr/>
              </p:nvSpPr>
              <p:spPr>
                <a:xfrm>
                  <a:off x="5160980" y="1116692"/>
                  <a:ext cx="646981" cy="646981"/>
                </a:xfrm>
                <a:prstGeom prst="rect">
                  <a:avLst/>
                </a:prstGeom>
                <a:solidFill>
                  <a:srgbClr val="01133F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r>
                    <a:rPr lang="en-US" altLang="zh-CN" sz="2000" b="1" dirty="0">
                      <a:solidFill>
                        <a:schemeClr val="bg1"/>
                      </a:solidFill>
                    </a:rPr>
                    <a:t>1</a:t>
                  </a:r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iŝļiḍè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5954610" y="1343675"/>
                  <a:ext cx="3310170" cy="41762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3200" b="1" dirty="0" smtClean="0">
                      <a:latin typeface="方正粗黑宋简体" panose="02000000000000000000" pitchFamily="2" charset="-122"/>
                      <a:ea typeface="方正粗黑宋简体" panose="02000000000000000000" pitchFamily="2" charset="-122"/>
                    </a:rPr>
                    <a:t>设计数据库</a:t>
                  </a:r>
                  <a:endParaRPr lang="id-ID" sz="3200" b="1" dirty="0">
                    <a:latin typeface="方正粗黑宋简体" panose="02000000000000000000" pitchFamily="2" charset="-122"/>
                    <a:ea typeface="方正粗黑宋简体" panose="02000000000000000000" pitchFamily="2" charset="-122"/>
                  </a:endParaRPr>
                </a:p>
              </p:txBody>
            </p:sp>
          </p:grpSp>
          <p:grpSp>
            <p:nvGrpSpPr>
              <p:cNvPr id="10" name="íṣľídé"/>
              <p:cNvGrpSpPr/>
              <p:nvPr/>
            </p:nvGrpSpPr>
            <p:grpSpPr>
              <a:xfrm>
                <a:off x="5160980" y="3569576"/>
                <a:ext cx="4030475" cy="646981"/>
                <a:chOff x="5160980" y="1831470"/>
                <a:chExt cx="4030475" cy="646981"/>
              </a:xfrm>
            </p:grpSpPr>
            <p:sp>
              <p:nvSpPr>
                <p:cNvPr id="11" name="ïs1ïdé"/>
                <p:cNvSpPr/>
                <p:nvPr/>
              </p:nvSpPr>
              <p:spPr>
                <a:xfrm>
                  <a:off x="5160980" y="1831470"/>
                  <a:ext cx="646981" cy="646981"/>
                </a:xfrm>
                <a:prstGeom prst="rect">
                  <a:avLst/>
                </a:prstGeom>
                <a:solidFill>
                  <a:srgbClr val="041743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r>
                    <a:rPr lang="en-US" altLang="zh-CN" sz="2000" b="1" dirty="0">
                      <a:solidFill>
                        <a:schemeClr val="bg1"/>
                      </a:solidFill>
                    </a:rPr>
                    <a:t>2</a:t>
                  </a:r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3" name="íSľíḍê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5881285" y="2060827"/>
                  <a:ext cx="3310170" cy="41762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3200" b="1" dirty="0">
                      <a:latin typeface="方正粗黑宋简体" panose="02000000000000000000" pitchFamily="2" charset="-122"/>
                      <a:ea typeface="方正粗黑宋简体" panose="02000000000000000000" pitchFamily="2" charset="-122"/>
                    </a:rPr>
                    <a:t>生成</a:t>
                  </a:r>
                  <a:r>
                    <a:rPr lang="zh-CN" altLang="en-US" sz="3200" b="1" dirty="0" smtClean="0">
                      <a:latin typeface="方正粗黑宋简体" panose="02000000000000000000" pitchFamily="2" charset="-122"/>
                      <a:ea typeface="方正粗黑宋简体" panose="02000000000000000000" pitchFamily="2" charset="-122"/>
                    </a:rPr>
                    <a:t>数据库</a:t>
                  </a:r>
                  <a:endParaRPr lang="id-ID" sz="3200" b="1" dirty="0">
                    <a:latin typeface="方正粗黑宋简体" panose="02000000000000000000" pitchFamily="2" charset="-122"/>
                    <a:ea typeface="方正粗黑宋简体" panose="02000000000000000000" pitchFamily="2" charset="-122"/>
                  </a:endParaRPr>
                </a:p>
              </p:txBody>
            </p:sp>
          </p:grpSp>
        </p:grpSp>
        <p:sp>
          <p:nvSpPr>
            <p:cNvPr id="19" name="ïs1ïdé"/>
            <p:cNvSpPr/>
            <p:nvPr/>
          </p:nvSpPr>
          <p:spPr>
            <a:xfrm>
              <a:off x="230075" y="4502426"/>
              <a:ext cx="646981" cy="646981"/>
            </a:xfrm>
            <a:prstGeom prst="rect">
              <a:avLst/>
            </a:prstGeom>
            <a:solidFill>
              <a:srgbClr val="041743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000" b="1" dirty="0" smtClean="0">
                  <a:solidFill>
                    <a:schemeClr val="bg1"/>
                  </a:solidFill>
                </a:rPr>
                <a:t>3</a:t>
              </a:r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íSľíḍê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950380" y="4731783"/>
              <a:ext cx="3310170" cy="41762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3200" b="1" dirty="0" smtClean="0">
                  <a:latin typeface="方正粗黑宋简体" panose="02000000000000000000" pitchFamily="2" charset="-122"/>
                  <a:ea typeface="方正粗黑宋简体" panose="02000000000000000000" pitchFamily="2" charset="-122"/>
                </a:rPr>
                <a:t>连接数据库</a:t>
              </a:r>
              <a:endParaRPr lang="id-ID" sz="3200" b="1" dirty="0">
                <a:latin typeface="方正粗黑宋简体" panose="02000000000000000000" pitchFamily="2" charset="-122"/>
                <a:ea typeface="方正粗黑宋简体" panose="02000000000000000000" pitchFamily="2" charset="-122"/>
              </a:endParaRPr>
            </a:p>
          </p:txBody>
        </p:sp>
      </p:grpSp>
      <p:sp>
        <p:nvSpPr>
          <p:cNvPr id="22" name="文本框 21"/>
          <p:cNvSpPr txBox="1"/>
          <p:nvPr/>
        </p:nvSpPr>
        <p:spPr>
          <a:xfrm>
            <a:off x="1290405" y="2336730"/>
            <a:ext cx="23241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1. </a:t>
            </a:r>
            <a:r>
              <a:rPr lang="zh-CN" altLang="en-US" sz="200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登录</a:t>
            </a:r>
            <a:r>
              <a:rPr lang="zh-CN" altLang="en-US" sz="20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信息表</a:t>
            </a:r>
            <a:endParaRPr lang="en-US" altLang="zh-CN" sz="2000" dirty="0" smtClean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r>
              <a:rPr lang="en-US" altLang="zh-CN" sz="20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2.</a:t>
            </a:r>
            <a:r>
              <a:rPr lang="zh-CN" altLang="en-US" sz="20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员工信息表</a:t>
            </a:r>
            <a:endParaRPr lang="en-US" altLang="zh-CN" sz="2000" dirty="0" smtClean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r>
              <a:rPr lang="en-US" altLang="zh-CN" sz="20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3.</a:t>
            </a:r>
            <a:r>
              <a:rPr lang="zh-CN" altLang="en-US" sz="20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离职员工信息</a:t>
            </a:r>
            <a:r>
              <a:rPr lang="zh-CN" altLang="en-US" sz="20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表</a:t>
            </a:r>
            <a:endParaRPr lang="en-US" altLang="zh-CN" sz="2000" dirty="0" smtClean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r>
              <a:rPr lang="en-US" altLang="zh-CN" sz="2000" dirty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4</a:t>
            </a:r>
            <a:r>
              <a:rPr lang="en-US" altLang="zh-CN" sz="20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.</a:t>
            </a:r>
            <a:r>
              <a:rPr lang="zh-CN" altLang="en-US" sz="20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部门信息表</a:t>
            </a:r>
            <a:endParaRPr lang="en-US" altLang="zh-CN" sz="2000" dirty="0" smtClean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r>
              <a:rPr lang="en-US" altLang="zh-CN" sz="20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5.</a:t>
            </a:r>
            <a:r>
              <a:rPr lang="zh-CN" altLang="en-US" sz="2000" dirty="0" smtClean="0"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岗位信息表</a:t>
            </a:r>
            <a:endParaRPr lang="zh-CN" altLang="en-US" sz="2000" dirty="0"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00633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20d3cda4-204e-41b5-a3cf-bf175a3fbe6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071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068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44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6700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068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1234"/>
      </a:accent1>
      <a:accent2>
        <a:srgbClr val="052B7F"/>
      </a:accent2>
      <a:accent3>
        <a:srgbClr val="00859D"/>
      </a:accent3>
      <a:accent4>
        <a:srgbClr val="28384F"/>
      </a:accent4>
      <a:accent5>
        <a:srgbClr val="535F70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1234"/>
    </a:accent1>
    <a:accent2>
      <a:srgbClr val="052B7F"/>
    </a:accent2>
    <a:accent3>
      <a:srgbClr val="00859D"/>
    </a:accent3>
    <a:accent4>
      <a:srgbClr val="28384F"/>
    </a:accent4>
    <a:accent5>
      <a:srgbClr val="535F70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1234"/>
    </a:accent1>
    <a:accent2>
      <a:srgbClr val="052B7F"/>
    </a:accent2>
    <a:accent3>
      <a:srgbClr val="00859D"/>
    </a:accent3>
    <a:accent4>
      <a:srgbClr val="28384F"/>
    </a:accent4>
    <a:accent5>
      <a:srgbClr val="535F70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43</TotalTime>
  <Words>485</Words>
  <Application>Microsoft Office PowerPoint</Application>
  <PresentationFormat>宽屏</PresentationFormat>
  <Paragraphs>145</Paragraphs>
  <Slides>2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35" baseType="lpstr">
      <vt:lpstr>宋体</vt:lpstr>
      <vt:lpstr>方正宋刻本秀楷简体</vt:lpstr>
      <vt:lpstr>Times New Roman</vt:lpstr>
      <vt:lpstr>微软雅黑</vt:lpstr>
      <vt:lpstr>Calibri</vt:lpstr>
      <vt:lpstr>Wingdings</vt:lpstr>
      <vt:lpstr>Arial</vt:lpstr>
      <vt:lpstr>方正粗黑宋简体</vt:lpstr>
      <vt:lpstr>Impact</vt:lpstr>
      <vt:lpstr>华文新魏</vt:lpstr>
      <vt:lpstr>Microsoft YaHei UI</vt:lpstr>
      <vt:lpstr>微软雅黑</vt:lpstr>
      <vt:lpstr>Arial Black</vt:lpstr>
      <vt:lpstr>主题5</vt:lpstr>
      <vt:lpstr>think-cell Slide</vt:lpstr>
      <vt:lpstr>The first Group® 人力资源管理系统开发 - Human Resource Management System -</vt:lpstr>
      <vt:lpstr>人力资源管理系统开发</vt:lpstr>
      <vt:lpstr>设计思路</vt:lpstr>
      <vt:lpstr>设计思路——活动图</vt:lpstr>
      <vt:lpstr>设计思路——用户故事表示</vt:lpstr>
      <vt:lpstr>设计思路——用户故事表示</vt:lpstr>
      <vt:lpstr>设计思路——开发工具</vt:lpstr>
      <vt:lpstr>实际开发</vt:lpstr>
      <vt:lpstr>搭建数据库</vt:lpstr>
      <vt:lpstr>前端开发——界面设计</vt:lpstr>
      <vt:lpstr>前端开发——模板修改</vt:lpstr>
      <vt:lpstr>前端开发——开发界面</vt:lpstr>
      <vt:lpstr>后端设计——博客学习</vt:lpstr>
      <vt:lpstr>前后端交互——连接数据库+服务器</vt:lpstr>
      <vt:lpstr>功能演示</vt:lpstr>
      <vt:lpstr>功能亮点总结</vt:lpstr>
      <vt:lpstr>代码解析</vt:lpstr>
      <vt:lpstr>代码解析——经典代码</vt:lpstr>
      <vt:lpstr>滴水穿石，不是力量大，而是功夫深 ——第一小组 HRM</vt:lpstr>
      <vt:lpstr>Thanks - Human Resource Management System -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993342152@qq.com</cp:lastModifiedBy>
  <cp:revision>69</cp:revision>
  <cp:lastPrinted>2019-04-18T16:00:00Z</cp:lastPrinted>
  <dcterms:created xsi:type="dcterms:W3CDTF">2019-04-18T16:00:00Z</dcterms:created>
  <dcterms:modified xsi:type="dcterms:W3CDTF">2019-07-15T23:4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